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9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0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1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2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3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4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5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6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7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8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9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20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1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22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23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24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25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26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2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4" r:id="rId3"/>
    <p:sldMasterId id="2147483688" r:id="rId4"/>
    <p:sldMasterId id="2147483700" r:id="rId5"/>
    <p:sldMasterId id="2147483712" r:id="rId6"/>
    <p:sldMasterId id="2147483724" r:id="rId7"/>
    <p:sldMasterId id="2147483737" r:id="rId8"/>
    <p:sldMasterId id="2147483743" r:id="rId9"/>
    <p:sldMasterId id="2147483749" r:id="rId10"/>
    <p:sldMasterId id="2147483752" r:id="rId11"/>
    <p:sldMasterId id="2147483758" r:id="rId12"/>
    <p:sldMasterId id="2147483764" r:id="rId13"/>
    <p:sldMasterId id="2147483770" r:id="rId14"/>
    <p:sldMasterId id="2147483776" r:id="rId15"/>
    <p:sldMasterId id="2147483782" r:id="rId16"/>
    <p:sldMasterId id="2147483788" r:id="rId17"/>
    <p:sldMasterId id="2147483794" r:id="rId18"/>
    <p:sldMasterId id="2147483800" r:id="rId19"/>
    <p:sldMasterId id="2147483806" r:id="rId20"/>
    <p:sldMasterId id="2147483812" r:id="rId21"/>
    <p:sldMasterId id="2147483818" r:id="rId22"/>
    <p:sldMasterId id="2147483824" r:id="rId23"/>
    <p:sldMasterId id="2147483837" r:id="rId24"/>
    <p:sldMasterId id="2147483843" r:id="rId25"/>
    <p:sldMasterId id="2147483849" r:id="rId26"/>
    <p:sldMasterId id="2147483855" r:id="rId27"/>
  </p:sldMasterIdLst>
  <p:notesMasterIdLst>
    <p:notesMasterId r:id="rId39"/>
  </p:notesMasterIdLst>
  <p:sldIdLst>
    <p:sldId id="256" r:id="rId28"/>
    <p:sldId id="265" r:id="rId29"/>
    <p:sldId id="259" r:id="rId30"/>
    <p:sldId id="275" r:id="rId31"/>
    <p:sldId id="272" r:id="rId32"/>
    <p:sldId id="273" r:id="rId33"/>
    <p:sldId id="274" r:id="rId34"/>
    <p:sldId id="276" r:id="rId35"/>
    <p:sldId id="277" r:id="rId36"/>
    <p:sldId id="266" r:id="rId37"/>
    <p:sldId id="268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73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notesMaster" Target="notesMasters/notesMaster1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2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6.xml"/><Relationship Id="rId38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9FC0A6-5E8B-4694-B6A1-5113E46E98CA}" type="doc">
      <dgm:prSet loTypeId="urn:microsoft.com/office/officeart/2005/8/layout/lProcess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IN"/>
        </a:p>
      </dgm:t>
    </dgm:pt>
    <dgm:pt modelId="{74C32363-019E-4A32-A9B8-D7BFC9E24675}">
      <dgm:prSet phldrT="[Text]"/>
      <dgm:spPr/>
      <dgm:t>
        <a:bodyPr/>
        <a:lstStyle/>
        <a:p>
          <a:r>
            <a:rPr lang="en-IN" dirty="0" smtClean="0"/>
            <a:t>Blood Test</a:t>
          </a:r>
          <a:endParaRPr lang="en-IN" dirty="0"/>
        </a:p>
      </dgm:t>
    </dgm:pt>
    <dgm:pt modelId="{849BEE71-314D-49A7-B7A5-DA41BFD3832E}" type="parTrans" cxnId="{C04E1748-3BFF-4E50-9A53-634A135D0AF6}">
      <dgm:prSet/>
      <dgm:spPr/>
      <dgm:t>
        <a:bodyPr/>
        <a:lstStyle/>
        <a:p>
          <a:endParaRPr lang="en-IN"/>
        </a:p>
      </dgm:t>
    </dgm:pt>
    <dgm:pt modelId="{4183E69F-2E17-4C99-B5F0-9A1219AB88D8}" type="sibTrans" cxnId="{C04E1748-3BFF-4E50-9A53-634A135D0AF6}">
      <dgm:prSet/>
      <dgm:spPr/>
      <dgm:t>
        <a:bodyPr/>
        <a:lstStyle/>
        <a:p>
          <a:endParaRPr lang="en-IN"/>
        </a:p>
      </dgm:t>
    </dgm:pt>
    <dgm:pt modelId="{B21E6E64-DEFF-4353-9FF2-B3B0EA92D207}">
      <dgm:prSet phldrT="[Text]"/>
      <dgm:spPr/>
      <dgm:t>
        <a:bodyPr/>
        <a:lstStyle/>
        <a:p>
          <a:r>
            <a:rPr lang="en-IN" dirty="0" smtClean="0"/>
            <a:t>We realised the different characters in play while doing the blood test. Let’s now name them and realise their impact.</a:t>
          </a:r>
          <a:endParaRPr lang="en-IN" dirty="0"/>
        </a:p>
      </dgm:t>
    </dgm:pt>
    <dgm:pt modelId="{801547AC-99EA-4108-9B71-643720BA2919}" type="parTrans" cxnId="{50714D16-5710-42CB-BBDD-C91C7BD09D45}">
      <dgm:prSet/>
      <dgm:spPr/>
      <dgm:t>
        <a:bodyPr/>
        <a:lstStyle/>
        <a:p>
          <a:endParaRPr lang="en-IN"/>
        </a:p>
      </dgm:t>
    </dgm:pt>
    <dgm:pt modelId="{71A89DFB-9134-421A-A044-DAD984FE650D}" type="sibTrans" cxnId="{50714D16-5710-42CB-BBDD-C91C7BD09D45}">
      <dgm:prSet/>
      <dgm:spPr/>
      <dgm:t>
        <a:bodyPr/>
        <a:lstStyle/>
        <a:p>
          <a:endParaRPr lang="en-IN"/>
        </a:p>
      </dgm:t>
    </dgm:pt>
    <dgm:pt modelId="{78668B19-9693-46BC-AD23-007A3C644CA6}">
      <dgm:prSet phldrT="[Text]"/>
      <dgm:spPr/>
      <dgm:t>
        <a:bodyPr/>
        <a:lstStyle/>
        <a:p>
          <a:r>
            <a:rPr lang="en-IN" dirty="0" smtClean="0">
              <a:solidFill>
                <a:schemeClr val="tx1"/>
              </a:solidFill>
            </a:rPr>
            <a:t>Our relations with team members and peers are guided by our perceptions of them. </a:t>
          </a:r>
          <a:endParaRPr lang="en-IN" dirty="0">
            <a:solidFill>
              <a:schemeClr val="tx1"/>
            </a:solidFill>
          </a:endParaRPr>
        </a:p>
      </dgm:t>
    </dgm:pt>
    <dgm:pt modelId="{270E169F-74B2-4706-A774-971C532EF053}" type="parTrans" cxnId="{E14A363C-DEAA-478A-86C1-FDE2CCB7B923}">
      <dgm:prSet/>
      <dgm:spPr/>
      <dgm:t>
        <a:bodyPr/>
        <a:lstStyle/>
        <a:p>
          <a:endParaRPr lang="en-IN"/>
        </a:p>
      </dgm:t>
    </dgm:pt>
    <dgm:pt modelId="{1855F1AE-6297-42B8-ACFE-84F75F687802}" type="sibTrans" cxnId="{E14A363C-DEAA-478A-86C1-FDE2CCB7B923}">
      <dgm:prSet/>
      <dgm:spPr/>
      <dgm:t>
        <a:bodyPr/>
        <a:lstStyle/>
        <a:p>
          <a:endParaRPr lang="en-IN"/>
        </a:p>
      </dgm:t>
    </dgm:pt>
    <dgm:pt modelId="{0021C992-BFBD-4D92-9C61-A6B77958D097}">
      <dgm:prSet phldrT="[Text]"/>
      <dgm:spPr/>
      <dgm:t>
        <a:bodyPr/>
        <a:lstStyle/>
        <a:p>
          <a:r>
            <a:rPr lang="en-IN" dirty="0" smtClean="0"/>
            <a:t>Victim Chooser</a:t>
          </a:r>
          <a:endParaRPr lang="en-IN" dirty="0"/>
        </a:p>
      </dgm:t>
    </dgm:pt>
    <dgm:pt modelId="{B75857EA-81F5-4FED-871C-8353A529CB45}" type="parTrans" cxnId="{39735E48-71C8-4741-A6A4-447504D90D34}">
      <dgm:prSet/>
      <dgm:spPr/>
      <dgm:t>
        <a:bodyPr/>
        <a:lstStyle/>
        <a:p>
          <a:endParaRPr lang="en-IN"/>
        </a:p>
      </dgm:t>
    </dgm:pt>
    <dgm:pt modelId="{5C532E04-F97B-4903-9AE9-2FF45D913E8A}" type="sibTrans" cxnId="{39735E48-71C8-4741-A6A4-447504D90D34}">
      <dgm:prSet/>
      <dgm:spPr/>
      <dgm:t>
        <a:bodyPr/>
        <a:lstStyle/>
        <a:p>
          <a:endParaRPr lang="en-IN"/>
        </a:p>
      </dgm:t>
    </dgm:pt>
    <dgm:pt modelId="{A23EC81F-738A-4B02-9799-EA65A0B5DE0B}">
      <dgm:prSet phldrT="[Text]"/>
      <dgm:spPr/>
      <dgm:t>
        <a:bodyPr/>
        <a:lstStyle/>
        <a:p>
          <a:r>
            <a:rPr lang="en-IN" dirty="0" smtClean="0"/>
            <a:t>Taking responsibility is the basis of being a chooser. </a:t>
          </a:r>
          <a:endParaRPr lang="en-IN" dirty="0"/>
        </a:p>
      </dgm:t>
    </dgm:pt>
    <dgm:pt modelId="{61616C3C-5D68-40D4-9746-087D152C6E16}" type="parTrans" cxnId="{88C81099-3A3F-4DA8-94C6-DDDD40B78CE0}">
      <dgm:prSet/>
      <dgm:spPr/>
      <dgm:t>
        <a:bodyPr/>
        <a:lstStyle/>
        <a:p>
          <a:endParaRPr lang="en-IN"/>
        </a:p>
      </dgm:t>
    </dgm:pt>
    <dgm:pt modelId="{4A0F8BB7-B643-46D1-A638-67CF9463A0E6}" type="sibTrans" cxnId="{88C81099-3A3F-4DA8-94C6-DDDD40B78CE0}">
      <dgm:prSet/>
      <dgm:spPr/>
      <dgm:t>
        <a:bodyPr/>
        <a:lstStyle/>
        <a:p>
          <a:endParaRPr lang="en-IN"/>
        </a:p>
      </dgm:t>
    </dgm:pt>
    <dgm:pt modelId="{2936DC7B-5324-4081-8104-BF2F9DED1AC1}">
      <dgm:prSet phldrT="[Text]"/>
      <dgm:spPr/>
      <dgm:t>
        <a:bodyPr/>
        <a:lstStyle/>
        <a:p>
          <a:r>
            <a:rPr lang="en-IN" dirty="0" smtClean="0"/>
            <a:t>I am the cause of my results/ relations. I can make happen what I want.</a:t>
          </a:r>
          <a:endParaRPr lang="en-IN" dirty="0"/>
        </a:p>
      </dgm:t>
    </dgm:pt>
    <dgm:pt modelId="{55F01263-DDDA-4CB5-A73E-3B2F67E5F5C3}" type="parTrans" cxnId="{19085A0C-45EE-4FDD-BF9F-BA89E2E14E80}">
      <dgm:prSet/>
      <dgm:spPr/>
      <dgm:t>
        <a:bodyPr/>
        <a:lstStyle/>
        <a:p>
          <a:endParaRPr lang="en-IN"/>
        </a:p>
      </dgm:t>
    </dgm:pt>
    <dgm:pt modelId="{25052D03-7783-4A3F-88E5-8FCD1B2F76A0}" type="sibTrans" cxnId="{19085A0C-45EE-4FDD-BF9F-BA89E2E14E80}">
      <dgm:prSet/>
      <dgm:spPr/>
      <dgm:t>
        <a:bodyPr/>
        <a:lstStyle/>
        <a:p>
          <a:endParaRPr lang="en-IN"/>
        </a:p>
      </dgm:t>
    </dgm:pt>
    <dgm:pt modelId="{9D570B9A-866D-4B2A-BB3B-BC0D2BD232ED}">
      <dgm:prSet phldrT="[Text]"/>
      <dgm:spPr/>
      <dgm:t>
        <a:bodyPr/>
        <a:lstStyle/>
        <a:p>
          <a:r>
            <a:rPr lang="en-IN" dirty="0" smtClean="0"/>
            <a:t>Giving Feedback</a:t>
          </a:r>
          <a:endParaRPr lang="en-IN" dirty="0"/>
        </a:p>
      </dgm:t>
    </dgm:pt>
    <dgm:pt modelId="{93D3A184-ACC4-4327-8567-43DDCFF354FA}" type="parTrans" cxnId="{83033383-54B9-4ED2-B5C6-E159A78CD377}">
      <dgm:prSet/>
      <dgm:spPr/>
      <dgm:t>
        <a:bodyPr/>
        <a:lstStyle/>
        <a:p>
          <a:endParaRPr lang="en-IN"/>
        </a:p>
      </dgm:t>
    </dgm:pt>
    <dgm:pt modelId="{5E8DE02F-BC73-4A97-A425-FF2EBE0AE84C}" type="sibTrans" cxnId="{83033383-54B9-4ED2-B5C6-E159A78CD377}">
      <dgm:prSet/>
      <dgm:spPr/>
      <dgm:t>
        <a:bodyPr/>
        <a:lstStyle/>
        <a:p>
          <a:endParaRPr lang="en-IN"/>
        </a:p>
      </dgm:t>
    </dgm:pt>
    <dgm:pt modelId="{5DE2072C-6E28-4798-8ACB-C7B25007B458}">
      <dgm:prSet phldrT="[Text]"/>
      <dgm:spPr/>
      <dgm:t>
        <a:bodyPr/>
        <a:lstStyle/>
        <a:p>
          <a:r>
            <a:rPr lang="en-IN" dirty="0" smtClean="0"/>
            <a:t>Assuming positive intent is the basis of giving feedback. If I don’t trust the intent, it will show.</a:t>
          </a:r>
          <a:endParaRPr lang="en-IN" dirty="0"/>
        </a:p>
      </dgm:t>
    </dgm:pt>
    <dgm:pt modelId="{D9F422B2-95FA-4A6B-81D9-62D40ACFA4D1}" type="parTrans" cxnId="{25E55164-F870-44A4-B225-33AA8EF4D0CF}">
      <dgm:prSet/>
      <dgm:spPr/>
      <dgm:t>
        <a:bodyPr/>
        <a:lstStyle/>
        <a:p>
          <a:endParaRPr lang="en-IN"/>
        </a:p>
      </dgm:t>
    </dgm:pt>
    <dgm:pt modelId="{0A49C720-BBAE-4142-BC07-D69F0E42C485}" type="sibTrans" cxnId="{25E55164-F870-44A4-B225-33AA8EF4D0CF}">
      <dgm:prSet/>
      <dgm:spPr/>
      <dgm:t>
        <a:bodyPr/>
        <a:lstStyle/>
        <a:p>
          <a:endParaRPr lang="en-IN"/>
        </a:p>
      </dgm:t>
    </dgm:pt>
    <dgm:pt modelId="{8BCEE625-5770-4B5F-AD80-715874BD7FC4}">
      <dgm:prSet phldrT="[Text]"/>
      <dgm:spPr/>
      <dgm:t>
        <a:bodyPr/>
        <a:lstStyle/>
        <a:p>
          <a:r>
            <a:rPr lang="en-IN" dirty="0" smtClean="0"/>
            <a:t>We will practice scenarios of giving feedback.</a:t>
          </a:r>
          <a:endParaRPr lang="en-IN" dirty="0"/>
        </a:p>
      </dgm:t>
    </dgm:pt>
    <dgm:pt modelId="{8BA1435A-1DA9-4452-9AD0-BC029E5C139F}" type="parTrans" cxnId="{D1055883-4511-4EF0-9B51-D7118EA87494}">
      <dgm:prSet/>
      <dgm:spPr/>
      <dgm:t>
        <a:bodyPr/>
        <a:lstStyle/>
        <a:p>
          <a:endParaRPr lang="en-IN"/>
        </a:p>
      </dgm:t>
    </dgm:pt>
    <dgm:pt modelId="{4B54BD87-F4E2-442E-B45F-E87A53401F8A}" type="sibTrans" cxnId="{D1055883-4511-4EF0-9B51-D7118EA87494}">
      <dgm:prSet/>
      <dgm:spPr/>
      <dgm:t>
        <a:bodyPr/>
        <a:lstStyle/>
        <a:p>
          <a:endParaRPr lang="en-IN"/>
        </a:p>
      </dgm:t>
    </dgm:pt>
    <dgm:pt modelId="{E00E2059-8257-45A3-B40E-63EEB70D6EBF}">
      <dgm:prSet/>
      <dgm:spPr/>
      <dgm:t>
        <a:bodyPr/>
        <a:lstStyle/>
        <a:p>
          <a:r>
            <a:rPr lang="en-IN" dirty="0" smtClean="0">
              <a:solidFill>
                <a:schemeClr val="tx1"/>
              </a:solidFill>
            </a:rPr>
            <a:t>Practicing scenarios of working with team members. Coaching and motivating them.</a:t>
          </a:r>
          <a:endParaRPr lang="en-IN" dirty="0">
            <a:solidFill>
              <a:schemeClr val="tx1"/>
            </a:solidFill>
          </a:endParaRPr>
        </a:p>
      </dgm:t>
    </dgm:pt>
    <dgm:pt modelId="{5DB34596-EB3F-4D5F-B673-3BE0AE73DC41}" type="parTrans" cxnId="{466D6FCB-A3BE-470A-91B2-E849FE8F8E79}">
      <dgm:prSet/>
      <dgm:spPr/>
      <dgm:t>
        <a:bodyPr/>
        <a:lstStyle/>
        <a:p>
          <a:endParaRPr lang="en-IN"/>
        </a:p>
      </dgm:t>
    </dgm:pt>
    <dgm:pt modelId="{234C2F0D-1E93-4044-8785-CA1AF0677E09}" type="sibTrans" cxnId="{466D6FCB-A3BE-470A-91B2-E849FE8F8E79}">
      <dgm:prSet/>
      <dgm:spPr/>
      <dgm:t>
        <a:bodyPr/>
        <a:lstStyle/>
        <a:p>
          <a:endParaRPr lang="en-IN"/>
        </a:p>
      </dgm:t>
    </dgm:pt>
    <dgm:pt modelId="{AB978AF1-5D88-41E8-B361-FDBDB4206BC2}">
      <dgm:prSet/>
      <dgm:spPr/>
      <dgm:t>
        <a:bodyPr/>
        <a:lstStyle/>
        <a:p>
          <a:r>
            <a:rPr lang="en-IN" dirty="0" smtClean="0"/>
            <a:t>Coaching</a:t>
          </a:r>
          <a:endParaRPr lang="en-IN" dirty="0"/>
        </a:p>
      </dgm:t>
    </dgm:pt>
    <dgm:pt modelId="{9F776F8C-7776-4188-B3E7-0058FFC1B983}" type="parTrans" cxnId="{B84E90B2-0776-4B71-A1E5-A762CD3C03D0}">
      <dgm:prSet/>
      <dgm:spPr/>
      <dgm:t>
        <a:bodyPr/>
        <a:lstStyle/>
        <a:p>
          <a:endParaRPr lang="en-IN"/>
        </a:p>
      </dgm:t>
    </dgm:pt>
    <dgm:pt modelId="{D1C5CBF3-E111-46BB-B700-284C298A78E9}" type="sibTrans" cxnId="{B84E90B2-0776-4B71-A1E5-A762CD3C03D0}">
      <dgm:prSet/>
      <dgm:spPr/>
      <dgm:t>
        <a:bodyPr/>
        <a:lstStyle/>
        <a:p>
          <a:endParaRPr lang="en-IN"/>
        </a:p>
      </dgm:t>
    </dgm:pt>
    <dgm:pt modelId="{F3ECC838-8D3A-41E1-913A-88A8AB6AFE67}" type="pres">
      <dgm:prSet presAssocID="{A49FC0A6-5E8B-4694-B6A1-5113E46E98CA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03AC30DF-8F99-46B4-8227-AE4EA31E377A}" type="pres">
      <dgm:prSet presAssocID="{74C32363-019E-4A32-A9B8-D7BFC9E24675}" presName="compNode" presStyleCnt="0"/>
      <dgm:spPr/>
    </dgm:pt>
    <dgm:pt modelId="{E9AEB754-AE93-4ED2-A207-0F7F86922CE5}" type="pres">
      <dgm:prSet presAssocID="{74C32363-019E-4A32-A9B8-D7BFC9E24675}" presName="aNode" presStyleLbl="bgShp" presStyleIdx="0" presStyleCnt="4"/>
      <dgm:spPr/>
      <dgm:t>
        <a:bodyPr/>
        <a:lstStyle/>
        <a:p>
          <a:endParaRPr lang="en-IN"/>
        </a:p>
      </dgm:t>
    </dgm:pt>
    <dgm:pt modelId="{5E45268B-F7A3-4D81-97A5-2EC6EEA12113}" type="pres">
      <dgm:prSet presAssocID="{74C32363-019E-4A32-A9B8-D7BFC9E24675}" presName="textNode" presStyleLbl="bgShp" presStyleIdx="0" presStyleCnt="4"/>
      <dgm:spPr/>
      <dgm:t>
        <a:bodyPr/>
        <a:lstStyle/>
        <a:p>
          <a:endParaRPr lang="en-IN"/>
        </a:p>
      </dgm:t>
    </dgm:pt>
    <dgm:pt modelId="{F91F455A-8638-4248-9A36-D17295784A93}" type="pres">
      <dgm:prSet presAssocID="{74C32363-019E-4A32-A9B8-D7BFC9E24675}" presName="compChildNode" presStyleCnt="0"/>
      <dgm:spPr/>
    </dgm:pt>
    <dgm:pt modelId="{C2E19C6B-D427-42F1-9D89-FF2FC59BA698}" type="pres">
      <dgm:prSet presAssocID="{74C32363-019E-4A32-A9B8-D7BFC9E24675}" presName="theInnerList" presStyleCnt="0"/>
      <dgm:spPr/>
    </dgm:pt>
    <dgm:pt modelId="{73D3D0C3-82CE-4363-9DC8-E70F7788047E}" type="pres">
      <dgm:prSet presAssocID="{B21E6E64-DEFF-4353-9FF2-B3B0EA92D207}" presName="child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7B68950-6F5F-4175-B662-2CE32ACDC0A6}" type="pres">
      <dgm:prSet presAssocID="{B21E6E64-DEFF-4353-9FF2-B3B0EA92D207}" presName="aSpace2" presStyleCnt="0"/>
      <dgm:spPr/>
    </dgm:pt>
    <dgm:pt modelId="{11DC7B5D-646D-40EC-B7A9-E8E7BEE6E61A}" type="pres">
      <dgm:prSet presAssocID="{78668B19-9693-46BC-AD23-007A3C644CA6}" presName="child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8B64CAE-5F42-4432-B002-C1FD57AC4E00}" type="pres">
      <dgm:prSet presAssocID="{74C32363-019E-4A32-A9B8-D7BFC9E24675}" presName="aSpace" presStyleCnt="0"/>
      <dgm:spPr/>
    </dgm:pt>
    <dgm:pt modelId="{156BE7F3-A30D-42B2-A5B0-FBC45F670D62}" type="pres">
      <dgm:prSet presAssocID="{0021C992-BFBD-4D92-9C61-A6B77958D097}" presName="compNode" presStyleCnt="0"/>
      <dgm:spPr/>
    </dgm:pt>
    <dgm:pt modelId="{D3BB04C3-DA2E-4031-AC1E-2E436FCC6CF3}" type="pres">
      <dgm:prSet presAssocID="{0021C992-BFBD-4D92-9C61-A6B77958D097}" presName="aNode" presStyleLbl="bgShp" presStyleIdx="1" presStyleCnt="4"/>
      <dgm:spPr/>
      <dgm:t>
        <a:bodyPr/>
        <a:lstStyle/>
        <a:p>
          <a:endParaRPr lang="en-IN"/>
        </a:p>
      </dgm:t>
    </dgm:pt>
    <dgm:pt modelId="{573E8CBD-A681-45F3-A6AF-6A4EA0C47D53}" type="pres">
      <dgm:prSet presAssocID="{0021C992-BFBD-4D92-9C61-A6B77958D097}" presName="textNode" presStyleLbl="bgShp" presStyleIdx="1" presStyleCnt="4"/>
      <dgm:spPr/>
      <dgm:t>
        <a:bodyPr/>
        <a:lstStyle/>
        <a:p>
          <a:endParaRPr lang="en-IN"/>
        </a:p>
      </dgm:t>
    </dgm:pt>
    <dgm:pt modelId="{18C8AA34-DEC3-4D61-B1D0-763964D5AF4E}" type="pres">
      <dgm:prSet presAssocID="{0021C992-BFBD-4D92-9C61-A6B77958D097}" presName="compChildNode" presStyleCnt="0"/>
      <dgm:spPr/>
    </dgm:pt>
    <dgm:pt modelId="{51543316-61DD-4038-BAC1-E7411070E94B}" type="pres">
      <dgm:prSet presAssocID="{0021C992-BFBD-4D92-9C61-A6B77958D097}" presName="theInnerList" presStyleCnt="0"/>
      <dgm:spPr/>
    </dgm:pt>
    <dgm:pt modelId="{D836E50F-051A-4386-9E74-753B6671E809}" type="pres">
      <dgm:prSet presAssocID="{A23EC81F-738A-4B02-9799-EA65A0B5DE0B}" presName="child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CE844E1-EC39-4381-9840-13D45DA51CCA}" type="pres">
      <dgm:prSet presAssocID="{A23EC81F-738A-4B02-9799-EA65A0B5DE0B}" presName="aSpace2" presStyleCnt="0"/>
      <dgm:spPr/>
    </dgm:pt>
    <dgm:pt modelId="{861EA1E5-040A-40CD-9A6A-C63A28354FEE}" type="pres">
      <dgm:prSet presAssocID="{2936DC7B-5324-4081-8104-BF2F9DED1AC1}" presName="child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9C6B990-3B42-46AA-90D6-BF3F81D12B69}" type="pres">
      <dgm:prSet presAssocID="{0021C992-BFBD-4D92-9C61-A6B77958D097}" presName="aSpace" presStyleCnt="0"/>
      <dgm:spPr/>
    </dgm:pt>
    <dgm:pt modelId="{BFCF8D6C-5D53-410C-826E-BDB6100846B2}" type="pres">
      <dgm:prSet presAssocID="{9D570B9A-866D-4B2A-BB3B-BC0D2BD232ED}" presName="compNode" presStyleCnt="0"/>
      <dgm:spPr/>
    </dgm:pt>
    <dgm:pt modelId="{0A20D215-0BE5-4C23-AE57-17D7FDE9BAE6}" type="pres">
      <dgm:prSet presAssocID="{9D570B9A-866D-4B2A-BB3B-BC0D2BD232ED}" presName="aNode" presStyleLbl="bgShp" presStyleIdx="2" presStyleCnt="4"/>
      <dgm:spPr/>
      <dgm:t>
        <a:bodyPr/>
        <a:lstStyle/>
        <a:p>
          <a:endParaRPr lang="en-IN"/>
        </a:p>
      </dgm:t>
    </dgm:pt>
    <dgm:pt modelId="{B1DF5E48-F6F9-44D8-AC92-68359BE400C5}" type="pres">
      <dgm:prSet presAssocID="{9D570B9A-866D-4B2A-BB3B-BC0D2BD232ED}" presName="textNode" presStyleLbl="bgShp" presStyleIdx="2" presStyleCnt="4"/>
      <dgm:spPr/>
      <dgm:t>
        <a:bodyPr/>
        <a:lstStyle/>
        <a:p>
          <a:endParaRPr lang="en-IN"/>
        </a:p>
      </dgm:t>
    </dgm:pt>
    <dgm:pt modelId="{5AF7BB11-5C3F-48CE-B6EE-BC162ED94C42}" type="pres">
      <dgm:prSet presAssocID="{9D570B9A-866D-4B2A-BB3B-BC0D2BD232ED}" presName="compChildNode" presStyleCnt="0"/>
      <dgm:spPr/>
    </dgm:pt>
    <dgm:pt modelId="{29AA5D51-A9E6-40A5-910F-772F629ACC0B}" type="pres">
      <dgm:prSet presAssocID="{9D570B9A-866D-4B2A-BB3B-BC0D2BD232ED}" presName="theInnerList" presStyleCnt="0"/>
      <dgm:spPr/>
    </dgm:pt>
    <dgm:pt modelId="{E0EE458A-43AD-4D0B-B786-3D56BF7D3F9A}" type="pres">
      <dgm:prSet presAssocID="{5DE2072C-6E28-4798-8ACB-C7B25007B458}" presName="child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9EF96AF-C805-4932-B114-BBE10626F780}" type="pres">
      <dgm:prSet presAssocID="{5DE2072C-6E28-4798-8ACB-C7B25007B458}" presName="aSpace2" presStyleCnt="0"/>
      <dgm:spPr/>
    </dgm:pt>
    <dgm:pt modelId="{7C451980-442E-4EDB-ABBE-A83923117AB0}" type="pres">
      <dgm:prSet presAssocID="{8BCEE625-5770-4B5F-AD80-715874BD7FC4}" presName="child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9E3B3EE-FFF6-4222-851A-7A970643E5C1}" type="pres">
      <dgm:prSet presAssocID="{9D570B9A-866D-4B2A-BB3B-BC0D2BD232ED}" presName="aSpace" presStyleCnt="0"/>
      <dgm:spPr/>
    </dgm:pt>
    <dgm:pt modelId="{16574D3C-FC0A-4F99-9AF8-C79813EC111E}" type="pres">
      <dgm:prSet presAssocID="{AB978AF1-5D88-41E8-B361-FDBDB4206BC2}" presName="compNode" presStyleCnt="0"/>
      <dgm:spPr/>
    </dgm:pt>
    <dgm:pt modelId="{1FF007E8-72D5-476B-9D1B-B7C4CA57F6A7}" type="pres">
      <dgm:prSet presAssocID="{AB978AF1-5D88-41E8-B361-FDBDB4206BC2}" presName="aNode" presStyleLbl="bgShp" presStyleIdx="3" presStyleCnt="4"/>
      <dgm:spPr/>
      <dgm:t>
        <a:bodyPr/>
        <a:lstStyle/>
        <a:p>
          <a:endParaRPr lang="en-IN"/>
        </a:p>
      </dgm:t>
    </dgm:pt>
    <dgm:pt modelId="{E570CF1A-DB0F-49FF-88BA-3A3D2839DC6C}" type="pres">
      <dgm:prSet presAssocID="{AB978AF1-5D88-41E8-B361-FDBDB4206BC2}" presName="textNode" presStyleLbl="bgShp" presStyleIdx="3" presStyleCnt="4"/>
      <dgm:spPr/>
      <dgm:t>
        <a:bodyPr/>
        <a:lstStyle/>
        <a:p>
          <a:endParaRPr lang="en-IN"/>
        </a:p>
      </dgm:t>
    </dgm:pt>
    <dgm:pt modelId="{5D8AD2C3-1FF4-474E-9917-AF825044AE2E}" type="pres">
      <dgm:prSet presAssocID="{AB978AF1-5D88-41E8-B361-FDBDB4206BC2}" presName="compChildNode" presStyleCnt="0"/>
      <dgm:spPr/>
    </dgm:pt>
    <dgm:pt modelId="{115AF228-B23A-4B1A-B9FE-7C91D0D51EC4}" type="pres">
      <dgm:prSet presAssocID="{AB978AF1-5D88-41E8-B361-FDBDB4206BC2}" presName="theInnerList" presStyleCnt="0"/>
      <dgm:spPr/>
    </dgm:pt>
    <dgm:pt modelId="{EDBFE1D8-A53D-4624-8DF9-0487E6A0F84D}" type="pres">
      <dgm:prSet presAssocID="{E00E2059-8257-45A3-B40E-63EEB70D6EBF}" presName="child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FA2FAD33-6C96-48BA-A06E-71B7F3E95FC0}" type="presOf" srcId="{9D570B9A-866D-4B2A-BB3B-BC0D2BD232ED}" destId="{B1DF5E48-F6F9-44D8-AC92-68359BE400C5}" srcOrd="1" destOrd="0" presId="urn:microsoft.com/office/officeart/2005/8/layout/lProcess2"/>
    <dgm:cxn modelId="{74D3196B-A55E-4D99-A74B-8B7F5828E3D6}" type="presOf" srcId="{78668B19-9693-46BC-AD23-007A3C644CA6}" destId="{11DC7B5D-646D-40EC-B7A9-E8E7BEE6E61A}" srcOrd="0" destOrd="0" presId="urn:microsoft.com/office/officeart/2005/8/layout/lProcess2"/>
    <dgm:cxn modelId="{BD27CA7C-E678-400C-A302-6FF39EBA81CE}" type="presOf" srcId="{B21E6E64-DEFF-4353-9FF2-B3B0EA92D207}" destId="{73D3D0C3-82CE-4363-9DC8-E70F7788047E}" srcOrd="0" destOrd="0" presId="urn:microsoft.com/office/officeart/2005/8/layout/lProcess2"/>
    <dgm:cxn modelId="{D1055883-4511-4EF0-9B51-D7118EA87494}" srcId="{9D570B9A-866D-4B2A-BB3B-BC0D2BD232ED}" destId="{8BCEE625-5770-4B5F-AD80-715874BD7FC4}" srcOrd="1" destOrd="0" parTransId="{8BA1435A-1DA9-4452-9AD0-BC029E5C139F}" sibTransId="{4B54BD87-F4E2-442E-B45F-E87A53401F8A}"/>
    <dgm:cxn modelId="{B6521EB4-2A6F-46AC-8871-3BB937E15F17}" type="presOf" srcId="{A23EC81F-738A-4B02-9799-EA65A0B5DE0B}" destId="{D836E50F-051A-4386-9E74-753B6671E809}" srcOrd="0" destOrd="0" presId="urn:microsoft.com/office/officeart/2005/8/layout/lProcess2"/>
    <dgm:cxn modelId="{C28D4E85-D85D-4700-B8E8-D00A5E2C99FA}" type="presOf" srcId="{AB978AF1-5D88-41E8-B361-FDBDB4206BC2}" destId="{E570CF1A-DB0F-49FF-88BA-3A3D2839DC6C}" srcOrd="1" destOrd="0" presId="urn:microsoft.com/office/officeart/2005/8/layout/lProcess2"/>
    <dgm:cxn modelId="{2F6C69E6-6DA4-468C-9E86-100D027DF3F9}" type="presOf" srcId="{E00E2059-8257-45A3-B40E-63EEB70D6EBF}" destId="{EDBFE1D8-A53D-4624-8DF9-0487E6A0F84D}" srcOrd="0" destOrd="0" presId="urn:microsoft.com/office/officeart/2005/8/layout/lProcess2"/>
    <dgm:cxn modelId="{466D6FCB-A3BE-470A-91B2-E849FE8F8E79}" srcId="{AB978AF1-5D88-41E8-B361-FDBDB4206BC2}" destId="{E00E2059-8257-45A3-B40E-63EEB70D6EBF}" srcOrd="0" destOrd="0" parTransId="{5DB34596-EB3F-4D5F-B673-3BE0AE73DC41}" sibTransId="{234C2F0D-1E93-4044-8785-CA1AF0677E09}"/>
    <dgm:cxn modelId="{25E55164-F870-44A4-B225-33AA8EF4D0CF}" srcId="{9D570B9A-866D-4B2A-BB3B-BC0D2BD232ED}" destId="{5DE2072C-6E28-4798-8ACB-C7B25007B458}" srcOrd="0" destOrd="0" parTransId="{D9F422B2-95FA-4A6B-81D9-62D40ACFA4D1}" sibTransId="{0A49C720-BBAE-4142-BC07-D69F0E42C485}"/>
    <dgm:cxn modelId="{50714D16-5710-42CB-BBDD-C91C7BD09D45}" srcId="{74C32363-019E-4A32-A9B8-D7BFC9E24675}" destId="{B21E6E64-DEFF-4353-9FF2-B3B0EA92D207}" srcOrd="0" destOrd="0" parTransId="{801547AC-99EA-4108-9B71-643720BA2919}" sibTransId="{71A89DFB-9134-421A-A044-DAD984FE650D}"/>
    <dgm:cxn modelId="{E14A363C-DEAA-478A-86C1-FDE2CCB7B923}" srcId="{74C32363-019E-4A32-A9B8-D7BFC9E24675}" destId="{78668B19-9693-46BC-AD23-007A3C644CA6}" srcOrd="1" destOrd="0" parTransId="{270E169F-74B2-4706-A774-971C532EF053}" sibTransId="{1855F1AE-6297-42B8-ACFE-84F75F687802}"/>
    <dgm:cxn modelId="{2A2A3412-C226-4FC3-A28D-885EB9923177}" type="presOf" srcId="{0021C992-BFBD-4D92-9C61-A6B77958D097}" destId="{573E8CBD-A681-45F3-A6AF-6A4EA0C47D53}" srcOrd="1" destOrd="0" presId="urn:microsoft.com/office/officeart/2005/8/layout/lProcess2"/>
    <dgm:cxn modelId="{60D573E5-2DC6-4C72-80F4-A8C42CEB2EAC}" type="presOf" srcId="{A49FC0A6-5E8B-4694-B6A1-5113E46E98CA}" destId="{F3ECC838-8D3A-41E1-913A-88A8AB6AFE67}" srcOrd="0" destOrd="0" presId="urn:microsoft.com/office/officeart/2005/8/layout/lProcess2"/>
    <dgm:cxn modelId="{4A8120AE-FB62-42F8-82C7-FDB3C4C6F2CC}" type="presOf" srcId="{74C32363-019E-4A32-A9B8-D7BFC9E24675}" destId="{E9AEB754-AE93-4ED2-A207-0F7F86922CE5}" srcOrd="0" destOrd="0" presId="urn:microsoft.com/office/officeart/2005/8/layout/lProcess2"/>
    <dgm:cxn modelId="{DA46BBF2-0412-474B-BD66-D8C6BACED67D}" type="presOf" srcId="{8BCEE625-5770-4B5F-AD80-715874BD7FC4}" destId="{7C451980-442E-4EDB-ABBE-A83923117AB0}" srcOrd="0" destOrd="0" presId="urn:microsoft.com/office/officeart/2005/8/layout/lProcess2"/>
    <dgm:cxn modelId="{7E24126B-64C1-454F-94FA-981EF42EDEC5}" type="presOf" srcId="{AB978AF1-5D88-41E8-B361-FDBDB4206BC2}" destId="{1FF007E8-72D5-476B-9D1B-B7C4CA57F6A7}" srcOrd="0" destOrd="0" presId="urn:microsoft.com/office/officeart/2005/8/layout/lProcess2"/>
    <dgm:cxn modelId="{7AB8665A-8A38-4138-9EE0-B712A3F2204E}" type="presOf" srcId="{9D570B9A-866D-4B2A-BB3B-BC0D2BD232ED}" destId="{0A20D215-0BE5-4C23-AE57-17D7FDE9BAE6}" srcOrd="0" destOrd="0" presId="urn:microsoft.com/office/officeart/2005/8/layout/lProcess2"/>
    <dgm:cxn modelId="{23E0EF2E-5331-4DBB-9CA5-2EBB76C47CC2}" type="presOf" srcId="{5DE2072C-6E28-4798-8ACB-C7B25007B458}" destId="{E0EE458A-43AD-4D0B-B786-3D56BF7D3F9A}" srcOrd="0" destOrd="0" presId="urn:microsoft.com/office/officeart/2005/8/layout/lProcess2"/>
    <dgm:cxn modelId="{C04E1748-3BFF-4E50-9A53-634A135D0AF6}" srcId="{A49FC0A6-5E8B-4694-B6A1-5113E46E98CA}" destId="{74C32363-019E-4A32-A9B8-D7BFC9E24675}" srcOrd="0" destOrd="0" parTransId="{849BEE71-314D-49A7-B7A5-DA41BFD3832E}" sibTransId="{4183E69F-2E17-4C99-B5F0-9A1219AB88D8}"/>
    <dgm:cxn modelId="{83033383-54B9-4ED2-B5C6-E159A78CD377}" srcId="{A49FC0A6-5E8B-4694-B6A1-5113E46E98CA}" destId="{9D570B9A-866D-4B2A-BB3B-BC0D2BD232ED}" srcOrd="2" destOrd="0" parTransId="{93D3A184-ACC4-4327-8567-43DDCFF354FA}" sibTransId="{5E8DE02F-BC73-4A97-A425-FF2EBE0AE84C}"/>
    <dgm:cxn modelId="{231F34B6-0CA3-4919-BC27-5A89FBCA0960}" type="presOf" srcId="{2936DC7B-5324-4081-8104-BF2F9DED1AC1}" destId="{861EA1E5-040A-40CD-9A6A-C63A28354FEE}" srcOrd="0" destOrd="0" presId="urn:microsoft.com/office/officeart/2005/8/layout/lProcess2"/>
    <dgm:cxn modelId="{00DFEDEA-5835-480A-83FF-A3E2A377746C}" type="presOf" srcId="{0021C992-BFBD-4D92-9C61-A6B77958D097}" destId="{D3BB04C3-DA2E-4031-AC1E-2E436FCC6CF3}" srcOrd="0" destOrd="0" presId="urn:microsoft.com/office/officeart/2005/8/layout/lProcess2"/>
    <dgm:cxn modelId="{19085A0C-45EE-4FDD-BF9F-BA89E2E14E80}" srcId="{0021C992-BFBD-4D92-9C61-A6B77958D097}" destId="{2936DC7B-5324-4081-8104-BF2F9DED1AC1}" srcOrd="1" destOrd="0" parTransId="{55F01263-DDDA-4CB5-A73E-3B2F67E5F5C3}" sibTransId="{25052D03-7783-4A3F-88E5-8FCD1B2F76A0}"/>
    <dgm:cxn modelId="{B84E90B2-0776-4B71-A1E5-A762CD3C03D0}" srcId="{A49FC0A6-5E8B-4694-B6A1-5113E46E98CA}" destId="{AB978AF1-5D88-41E8-B361-FDBDB4206BC2}" srcOrd="3" destOrd="0" parTransId="{9F776F8C-7776-4188-B3E7-0058FFC1B983}" sibTransId="{D1C5CBF3-E111-46BB-B700-284C298A78E9}"/>
    <dgm:cxn modelId="{88C81099-3A3F-4DA8-94C6-DDDD40B78CE0}" srcId="{0021C992-BFBD-4D92-9C61-A6B77958D097}" destId="{A23EC81F-738A-4B02-9799-EA65A0B5DE0B}" srcOrd="0" destOrd="0" parTransId="{61616C3C-5D68-40D4-9746-087D152C6E16}" sibTransId="{4A0F8BB7-B643-46D1-A638-67CF9463A0E6}"/>
    <dgm:cxn modelId="{E888A253-0F8C-442F-B156-E967CB62B71E}" type="presOf" srcId="{74C32363-019E-4A32-A9B8-D7BFC9E24675}" destId="{5E45268B-F7A3-4D81-97A5-2EC6EEA12113}" srcOrd="1" destOrd="0" presId="urn:microsoft.com/office/officeart/2005/8/layout/lProcess2"/>
    <dgm:cxn modelId="{39735E48-71C8-4741-A6A4-447504D90D34}" srcId="{A49FC0A6-5E8B-4694-B6A1-5113E46E98CA}" destId="{0021C992-BFBD-4D92-9C61-A6B77958D097}" srcOrd="1" destOrd="0" parTransId="{B75857EA-81F5-4FED-871C-8353A529CB45}" sibTransId="{5C532E04-F97B-4903-9AE9-2FF45D913E8A}"/>
    <dgm:cxn modelId="{36C147BD-5148-4FC0-87B9-19EF476499E8}" type="presParOf" srcId="{F3ECC838-8D3A-41E1-913A-88A8AB6AFE67}" destId="{03AC30DF-8F99-46B4-8227-AE4EA31E377A}" srcOrd="0" destOrd="0" presId="urn:microsoft.com/office/officeart/2005/8/layout/lProcess2"/>
    <dgm:cxn modelId="{93ECD4CC-45F1-48B7-B5CD-35E78485A21E}" type="presParOf" srcId="{03AC30DF-8F99-46B4-8227-AE4EA31E377A}" destId="{E9AEB754-AE93-4ED2-A207-0F7F86922CE5}" srcOrd="0" destOrd="0" presId="urn:microsoft.com/office/officeart/2005/8/layout/lProcess2"/>
    <dgm:cxn modelId="{3DD0469F-E475-4DD2-BF47-FED7125554C2}" type="presParOf" srcId="{03AC30DF-8F99-46B4-8227-AE4EA31E377A}" destId="{5E45268B-F7A3-4D81-97A5-2EC6EEA12113}" srcOrd="1" destOrd="0" presId="urn:microsoft.com/office/officeart/2005/8/layout/lProcess2"/>
    <dgm:cxn modelId="{8BB4F2FC-3117-4AE1-9CFC-F3B7CEE26D52}" type="presParOf" srcId="{03AC30DF-8F99-46B4-8227-AE4EA31E377A}" destId="{F91F455A-8638-4248-9A36-D17295784A93}" srcOrd="2" destOrd="0" presId="urn:microsoft.com/office/officeart/2005/8/layout/lProcess2"/>
    <dgm:cxn modelId="{CD0BA42D-0760-481A-97CE-06F2A0219CBD}" type="presParOf" srcId="{F91F455A-8638-4248-9A36-D17295784A93}" destId="{C2E19C6B-D427-42F1-9D89-FF2FC59BA698}" srcOrd="0" destOrd="0" presId="urn:microsoft.com/office/officeart/2005/8/layout/lProcess2"/>
    <dgm:cxn modelId="{E4F247CC-32C9-4386-AE4B-4FA8CE074DB3}" type="presParOf" srcId="{C2E19C6B-D427-42F1-9D89-FF2FC59BA698}" destId="{73D3D0C3-82CE-4363-9DC8-E70F7788047E}" srcOrd="0" destOrd="0" presId="urn:microsoft.com/office/officeart/2005/8/layout/lProcess2"/>
    <dgm:cxn modelId="{6CAC23AB-141A-473A-AE9A-19E72E474C48}" type="presParOf" srcId="{C2E19C6B-D427-42F1-9D89-FF2FC59BA698}" destId="{37B68950-6F5F-4175-B662-2CE32ACDC0A6}" srcOrd="1" destOrd="0" presId="urn:microsoft.com/office/officeart/2005/8/layout/lProcess2"/>
    <dgm:cxn modelId="{EBDF62BB-2BBD-4EFB-B315-1B867BD19824}" type="presParOf" srcId="{C2E19C6B-D427-42F1-9D89-FF2FC59BA698}" destId="{11DC7B5D-646D-40EC-B7A9-E8E7BEE6E61A}" srcOrd="2" destOrd="0" presId="urn:microsoft.com/office/officeart/2005/8/layout/lProcess2"/>
    <dgm:cxn modelId="{21548575-1122-498E-A4B8-B6F47FF6E8B7}" type="presParOf" srcId="{F3ECC838-8D3A-41E1-913A-88A8AB6AFE67}" destId="{38B64CAE-5F42-4432-B002-C1FD57AC4E00}" srcOrd="1" destOrd="0" presId="urn:microsoft.com/office/officeart/2005/8/layout/lProcess2"/>
    <dgm:cxn modelId="{66CE4F6A-4EFF-4A2E-BEA7-07B18534F394}" type="presParOf" srcId="{F3ECC838-8D3A-41E1-913A-88A8AB6AFE67}" destId="{156BE7F3-A30D-42B2-A5B0-FBC45F670D62}" srcOrd="2" destOrd="0" presId="urn:microsoft.com/office/officeart/2005/8/layout/lProcess2"/>
    <dgm:cxn modelId="{E184CFA5-5120-414B-AA0B-94F7B188DD1D}" type="presParOf" srcId="{156BE7F3-A30D-42B2-A5B0-FBC45F670D62}" destId="{D3BB04C3-DA2E-4031-AC1E-2E436FCC6CF3}" srcOrd="0" destOrd="0" presId="urn:microsoft.com/office/officeart/2005/8/layout/lProcess2"/>
    <dgm:cxn modelId="{0767DCC0-C8B9-4C1C-AA4F-2BB9D9618028}" type="presParOf" srcId="{156BE7F3-A30D-42B2-A5B0-FBC45F670D62}" destId="{573E8CBD-A681-45F3-A6AF-6A4EA0C47D53}" srcOrd="1" destOrd="0" presId="urn:microsoft.com/office/officeart/2005/8/layout/lProcess2"/>
    <dgm:cxn modelId="{CE6064F6-0DF2-423B-ACB7-3DC548EB42C1}" type="presParOf" srcId="{156BE7F3-A30D-42B2-A5B0-FBC45F670D62}" destId="{18C8AA34-DEC3-4D61-B1D0-763964D5AF4E}" srcOrd="2" destOrd="0" presId="urn:microsoft.com/office/officeart/2005/8/layout/lProcess2"/>
    <dgm:cxn modelId="{58C4EEDB-70C5-4563-9AD6-9B63C2CCC4E5}" type="presParOf" srcId="{18C8AA34-DEC3-4D61-B1D0-763964D5AF4E}" destId="{51543316-61DD-4038-BAC1-E7411070E94B}" srcOrd="0" destOrd="0" presId="urn:microsoft.com/office/officeart/2005/8/layout/lProcess2"/>
    <dgm:cxn modelId="{8F394432-2FB9-4446-8021-F12DDCAF7826}" type="presParOf" srcId="{51543316-61DD-4038-BAC1-E7411070E94B}" destId="{D836E50F-051A-4386-9E74-753B6671E809}" srcOrd="0" destOrd="0" presId="urn:microsoft.com/office/officeart/2005/8/layout/lProcess2"/>
    <dgm:cxn modelId="{8F744136-EBDE-466C-876E-4A1CEE36A613}" type="presParOf" srcId="{51543316-61DD-4038-BAC1-E7411070E94B}" destId="{1CE844E1-EC39-4381-9840-13D45DA51CCA}" srcOrd="1" destOrd="0" presId="urn:microsoft.com/office/officeart/2005/8/layout/lProcess2"/>
    <dgm:cxn modelId="{92C91437-37F3-430E-BC65-6C47FD437A0F}" type="presParOf" srcId="{51543316-61DD-4038-BAC1-E7411070E94B}" destId="{861EA1E5-040A-40CD-9A6A-C63A28354FEE}" srcOrd="2" destOrd="0" presId="urn:microsoft.com/office/officeart/2005/8/layout/lProcess2"/>
    <dgm:cxn modelId="{E47F08F0-725D-4D67-B130-66BE9AE986B3}" type="presParOf" srcId="{F3ECC838-8D3A-41E1-913A-88A8AB6AFE67}" destId="{89C6B990-3B42-46AA-90D6-BF3F81D12B69}" srcOrd="3" destOrd="0" presId="urn:microsoft.com/office/officeart/2005/8/layout/lProcess2"/>
    <dgm:cxn modelId="{BE424BD3-87AC-47A5-B6F2-D9EF9DCEAE0A}" type="presParOf" srcId="{F3ECC838-8D3A-41E1-913A-88A8AB6AFE67}" destId="{BFCF8D6C-5D53-410C-826E-BDB6100846B2}" srcOrd="4" destOrd="0" presId="urn:microsoft.com/office/officeart/2005/8/layout/lProcess2"/>
    <dgm:cxn modelId="{C331FD7A-4CDB-4AC0-B2BC-264A8842D7EA}" type="presParOf" srcId="{BFCF8D6C-5D53-410C-826E-BDB6100846B2}" destId="{0A20D215-0BE5-4C23-AE57-17D7FDE9BAE6}" srcOrd="0" destOrd="0" presId="urn:microsoft.com/office/officeart/2005/8/layout/lProcess2"/>
    <dgm:cxn modelId="{6F7F47D9-1DD2-4C5A-A511-3FDE3BE9CD74}" type="presParOf" srcId="{BFCF8D6C-5D53-410C-826E-BDB6100846B2}" destId="{B1DF5E48-F6F9-44D8-AC92-68359BE400C5}" srcOrd="1" destOrd="0" presId="urn:microsoft.com/office/officeart/2005/8/layout/lProcess2"/>
    <dgm:cxn modelId="{1F9A92DE-3A92-4D7B-B6E4-BE6C6C1ED81D}" type="presParOf" srcId="{BFCF8D6C-5D53-410C-826E-BDB6100846B2}" destId="{5AF7BB11-5C3F-48CE-B6EE-BC162ED94C42}" srcOrd="2" destOrd="0" presId="urn:microsoft.com/office/officeart/2005/8/layout/lProcess2"/>
    <dgm:cxn modelId="{ECFAFD58-9D91-449C-A99E-9766B516E133}" type="presParOf" srcId="{5AF7BB11-5C3F-48CE-B6EE-BC162ED94C42}" destId="{29AA5D51-A9E6-40A5-910F-772F629ACC0B}" srcOrd="0" destOrd="0" presId="urn:microsoft.com/office/officeart/2005/8/layout/lProcess2"/>
    <dgm:cxn modelId="{5B73E70E-252E-4471-BCCE-FC6BA92157A2}" type="presParOf" srcId="{29AA5D51-A9E6-40A5-910F-772F629ACC0B}" destId="{E0EE458A-43AD-4D0B-B786-3D56BF7D3F9A}" srcOrd="0" destOrd="0" presId="urn:microsoft.com/office/officeart/2005/8/layout/lProcess2"/>
    <dgm:cxn modelId="{98843248-408D-4C1C-85F6-769C982B5C56}" type="presParOf" srcId="{29AA5D51-A9E6-40A5-910F-772F629ACC0B}" destId="{C9EF96AF-C805-4932-B114-BBE10626F780}" srcOrd="1" destOrd="0" presId="urn:microsoft.com/office/officeart/2005/8/layout/lProcess2"/>
    <dgm:cxn modelId="{E58275C7-76A9-48DB-9B74-2ED9C1CD7CC1}" type="presParOf" srcId="{29AA5D51-A9E6-40A5-910F-772F629ACC0B}" destId="{7C451980-442E-4EDB-ABBE-A83923117AB0}" srcOrd="2" destOrd="0" presId="urn:microsoft.com/office/officeart/2005/8/layout/lProcess2"/>
    <dgm:cxn modelId="{FE02FAA9-7BE4-4A63-B551-BFD672957B8E}" type="presParOf" srcId="{F3ECC838-8D3A-41E1-913A-88A8AB6AFE67}" destId="{69E3B3EE-FFF6-4222-851A-7A970643E5C1}" srcOrd="5" destOrd="0" presId="urn:microsoft.com/office/officeart/2005/8/layout/lProcess2"/>
    <dgm:cxn modelId="{0C159CBE-66F2-4558-9A92-826072AF1A53}" type="presParOf" srcId="{F3ECC838-8D3A-41E1-913A-88A8AB6AFE67}" destId="{16574D3C-FC0A-4F99-9AF8-C79813EC111E}" srcOrd="6" destOrd="0" presId="urn:microsoft.com/office/officeart/2005/8/layout/lProcess2"/>
    <dgm:cxn modelId="{82614160-424E-49DF-A641-619ACA29BB38}" type="presParOf" srcId="{16574D3C-FC0A-4F99-9AF8-C79813EC111E}" destId="{1FF007E8-72D5-476B-9D1B-B7C4CA57F6A7}" srcOrd="0" destOrd="0" presId="urn:microsoft.com/office/officeart/2005/8/layout/lProcess2"/>
    <dgm:cxn modelId="{DA395FA2-94B1-4FBF-BECF-0BEDA6A4893A}" type="presParOf" srcId="{16574D3C-FC0A-4F99-9AF8-C79813EC111E}" destId="{E570CF1A-DB0F-49FF-88BA-3A3D2839DC6C}" srcOrd="1" destOrd="0" presId="urn:microsoft.com/office/officeart/2005/8/layout/lProcess2"/>
    <dgm:cxn modelId="{66387813-9B91-4C3E-AEA5-F95AF53646CD}" type="presParOf" srcId="{16574D3C-FC0A-4F99-9AF8-C79813EC111E}" destId="{5D8AD2C3-1FF4-474E-9917-AF825044AE2E}" srcOrd="2" destOrd="0" presId="urn:microsoft.com/office/officeart/2005/8/layout/lProcess2"/>
    <dgm:cxn modelId="{7F71CA6C-4C2E-4BF7-B9F4-481448C78D2F}" type="presParOf" srcId="{5D8AD2C3-1FF4-474E-9917-AF825044AE2E}" destId="{115AF228-B23A-4B1A-B9FE-7C91D0D51EC4}" srcOrd="0" destOrd="0" presId="urn:microsoft.com/office/officeart/2005/8/layout/lProcess2"/>
    <dgm:cxn modelId="{8A84B4AC-6564-4B1B-B627-747B297C13FD}" type="presParOf" srcId="{115AF228-B23A-4B1A-B9FE-7C91D0D51EC4}" destId="{EDBFE1D8-A53D-4624-8DF9-0487E6A0F84D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AA2332-B58B-4566-B194-E7BCFE879E29}" type="datetimeFigureOut">
              <a:rPr lang="en-IN" smtClean="0"/>
              <a:t>15-05-20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46552E-D384-4D6B-B65F-FC3E3AE55CC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91630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/>
          </a:p>
        </p:txBody>
      </p:sp>
      <p:sp>
        <p:nvSpPr>
          <p:cNvPr id="7" name="AutoShape 26"/>
          <p:cNvSpPr>
            <a:spLocks noChangeArrowheads="1"/>
          </p:cNvSpPr>
          <p:nvPr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/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056853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214565" y="6356342"/>
            <a:ext cx="3859929" cy="36497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187030"/>
      </p:ext>
    </p:extLst>
  </p:cSld>
  <p:clrMapOvr>
    <a:masterClrMapping/>
  </p:clrMapOvr>
  <p:hf sldNum="0"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5351293"/>
      </p:ext>
    </p:extLst>
  </p:cSld>
  <p:clrMapOvr>
    <a:masterClrMapping/>
  </p:clrMapOvr>
  <p:hf sldNum="0"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860999"/>
      </p:ext>
    </p:extLst>
  </p:cSld>
  <p:clrMapOvr>
    <a:masterClrMapping/>
  </p:clrMapOvr>
  <p:hf sldNum="0"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1" y="363477"/>
            <a:ext cx="11003037" cy="545216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544" y="1249642"/>
            <a:ext cx="10836919" cy="4973027"/>
          </a:xfrm>
          <a:prstGeom prst="rect">
            <a:avLst/>
          </a:prstGeom>
        </p:spPr>
        <p:txBody>
          <a:bodyPr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325374"/>
      </p:ext>
    </p:extLst>
  </p:cSld>
  <p:clrMapOvr>
    <a:masterClrMapping/>
  </p:clrMapOvr>
  <p:hf sldNum="0"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933178"/>
      </p:ext>
    </p:extLst>
  </p:cSld>
  <p:clrMapOvr>
    <a:masterClrMapping/>
  </p:clrMapOvr>
  <p:hf sldNum="0"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89681"/>
      </p:ext>
    </p:extLst>
  </p:cSld>
  <p:clrMapOvr>
    <a:masterClrMapping/>
  </p:clrMapOvr>
  <p:hf sldNum="0"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009849"/>
      </p:ext>
    </p:extLst>
  </p:cSld>
  <p:clrMapOvr>
    <a:masterClrMapping/>
  </p:clrMapOvr>
  <p:hf sldNum="0"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288123"/>
      </p:ext>
    </p:extLst>
  </p:cSld>
  <p:clrMapOvr>
    <a:masterClrMapping/>
  </p:clrMapOvr>
  <p:hf sldNum="0"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892897"/>
      </p:ext>
    </p:extLst>
  </p:cSld>
  <p:clrMapOvr>
    <a:masterClrMapping/>
  </p:clrMapOvr>
  <p:hf sldNum="0"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488428"/>
      </p:ext>
    </p:extLst>
  </p:cSld>
  <p:clrMapOvr>
    <a:masterClrMapping/>
  </p:clrMapOvr>
  <p:hf sldNum="0"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798199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327796"/>
      </p:ext>
    </p:extLst>
  </p:cSld>
  <p:clrMapOvr>
    <a:masterClrMapping/>
  </p:clrMapOvr>
  <p:hf sldNum="0"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012993"/>
      </p:ext>
    </p:extLst>
  </p:cSld>
  <p:clrMapOvr>
    <a:masterClrMapping/>
  </p:clrMapOvr>
  <p:hf sldNum="0"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89855"/>
      </p:ext>
    </p:extLst>
  </p:cSld>
  <p:clrMapOvr>
    <a:masterClrMapping/>
  </p:clrMapOvr>
  <p:hf sldNum="0"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3925545"/>
      </p:ext>
    </p:extLst>
  </p:cSld>
  <p:clrMapOvr>
    <a:masterClrMapping/>
  </p:clrMapOvr>
  <p:hf sldNum="0"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213350"/>
      </p:ext>
    </p:extLst>
  </p:cSld>
  <p:clrMapOvr>
    <a:masterClrMapping/>
  </p:clrMapOvr>
  <p:hf sldNum="0"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73957"/>
      </p:ext>
    </p:extLst>
  </p:cSld>
  <p:clrMapOvr>
    <a:masterClrMapping/>
  </p:clrMapOvr>
  <p:hf sldNum="0" hd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657449"/>
      </p:ext>
    </p:extLst>
  </p:cSld>
  <p:clrMapOvr>
    <a:masterClrMapping/>
  </p:clrMapOvr>
  <p:hf sldNum="0"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194969"/>
      </p:ext>
    </p:extLst>
  </p:cSld>
  <p:clrMapOvr>
    <a:masterClrMapping/>
  </p:clrMapOvr>
  <p:hf sldNum="0" hd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7049085"/>
      </p:ext>
    </p:extLst>
  </p:cSld>
  <p:clrMapOvr>
    <a:masterClrMapping/>
  </p:clrMapOvr>
  <p:hf sldNum="0" hd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845443"/>
      </p:ext>
    </p:extLst>
  </p:cSld>
  <p:clrMapOvr>
    <a:masterClrMapping/>
  </p:clrMapOvr>
  <p:hf sldNum="0" hd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96443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679844"/>
      </p:ext>
    </p:extLst>
  </p:cSld>
  <p:clrMapOvr>
    <a:masterClrMapping/>
  </p:clrMapOvr>
  <p:hf sldNum="0" hd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63339"/>
      </p:ext>
    </p:extLst>
  </p:cSld>
  <p:clrMapOvr>
    <a:masterClrMapping/>
  </p:clrMapOvr>
  <p:hf sldNum="0" hd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015010"/>
      </p:ext>
    </p:extLst>
  </p:cSld>
  <p:clrMapOvr>
    <a:masterClrMapping/>
  </p:clrMapOvr>
  <p:hf sldNum="0" hd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8578104"/>
      </p:ext>
    </p:extLst>
  </p:cSld>
  <p:clrMapOvr>
    <a:masterClrMapping/>
  </p:clrMapOvr>
  <p:hf sldNum="0" hd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012929"/>
      </p:ext>
    </p:extLst>
  </p:cSld>
  <p:clrMapOvr>
    <a:masterClrMapping/>
  </p:clrMapOvr>
  <p:hf sldNum="0" hd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812086"/>
      </p:ext>
    </p:extLst>
  </p:cSld>
  <p:clrMapOvr>
    <a:masterClrMapping/>
  </p:clrMapOvr>
  <p:hf sldNum="0" hd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320637"/>
      </p:ext>
    </p:extLst>
  </p:cSld>
  <p:clrMapOvr>
    <a:masterClrMapping/>
  </p:clrMapOvr>
  <p:hf sldNum="0" hd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212305"/>
      </p:ext>
    </p:extLst>
  </p:cSld>
  <p:clrMapOvr>
    <a:masterClrMapping/>
  </p:clrMapOvr>
  <p:hf sldNum="0" hd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358337"/>
      </p:ext>
    </p:extLst>
  </p:cSld>
  <p:clrMapOvr>
    <a:masterClrMapping/>
  </p:clrMapOvr>
  <p:hf sldNum="0" hd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044060"/>
      </p:ext>
    </p:extLst>
  </p:cSld>
  <p:clrMapOvr>
    <a:masterClrMapping/>
  </p:clrMapOvr>
  <p:hf sldNum="0" hd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807658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1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4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76046" indent="0" algn="ctr">
              <a:buNone/>
              <a:defRPr/>
            </a:lvl2pPr>
            <a:lvl3pPr marL="952094" indent="0" algn="ctr">
              <a:buNone/>
              <a:defRPr/>
            </a:lvl3pPr>
            <a:lvl4pPr marL="1428141" indent="0" algn="ctr">
              <a:buNone/>
              <a:defRPr/>
            </a:lvl4pPr>
            <a:lvl5pPr marL="1904189" indent="0" algn="ctr">
              <a:buNone/>
              <a:defRPr/>
            </a:lvl5pPr>
            <a:lvl6pPr marL="2380234" indent="0" algn="ctr">
              <a:buNone/>
              <a:defRPr/>
            </a:lvl6pPr>
            <a:lvl7pPr marL="2856283" indent="0" algn="ctr">
              <a:buNone/>
              <a:defRPr/>
            </a:lvl7pPr>
            <a:lvl8pPr marL="3332329" indent="0" algn="ctr">
              <a:buNone/>
              <a:defRPr/>
            </a:lvl8pPr>
            <a:lvl9pPr marL="380837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D151C1-9F68-4E39-9345-66640502431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215763"/>
      </p:ext>
    </p:extLst>
  </p:cSld>
  <p:clrMapOvr>
    <a:masterClrMapping/>
  </p:clrMapOvr>
  <p:hf sldNum="0"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92110"/>
      </p:ext>
    </p:extLst>
  </p:cSld>
  <p:clrMapOvr>
    <a:masterClrMapping/>
  </p:clrMapOvr>
  <p:hf sldNum="0" hd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8617"/>
      </p:ext>
    </p:extLst>
  </p:cSld>
  <p:clrMapOvr>
    <a:masterClrMapping/>
  </p:clrMapOvr>
  <p:hf sldNum="0" hd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296629"/>
      </p:ext>
    </p:extLst>
  </p:cSld>
  <p:clrMapOvr>
    <a:masterClrMapping/>
  </p:clrMapOvr>
  <p:hf sldNum="0" hd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623291"/>
      </p:ext>
    </p:extLst>
  </p:cSld>
  <p:clrMapOvr>
    <a:masterClrMapping/>
  </p:clrMapOvr>
  <p:hf sldNum="0" hd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5067168"/>
      </p:ext>
    </p:extLst>
  </p:cSld>
  <p:clrMapOvr>
    <a:masterClrMapping/>
  </p:clrMapOvr>
  <p:hf sldNum="0" hd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459004"/>
      </p:ext>
    </p:extLst>
  </p:cSld>
  <p:clrMapOvr>
    <a:masterClrMapping/>
  </p:clrMapOvr>
  <p:hf sldNum="0" hd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079619"/>
      </p:ext>
    </p:extLst>
  </p:cSld>
  <p:clrMapOvr>
    <a:masterClrMapping/>
  </p:clrMapOvr>
  <p:hf sldNum="0" hd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5396445"/>
      </p:ext>
    </p:extLst>
  </p:cSld>
  <p:clrMapOvr>
    <a:masterClrMapping/>
  </p:clrMapOvr>
  <p:hf sldNum="0"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972898"/>
      </p:ext>
    </p:extLst>
  </p:cSld>
  <p:clrMapOvr>
    <a:masterClrMapping/>
  </p:clrMapOvr>
  <p:hf sldNum="0"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462165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BD34C6-3129-4EAF-B2B5-0E60F291854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636530"/>
      </p:ext>
    </p:extLst>
  </p:cSld>
  <p:clrMapOvr>
    <a:masterClrMapping/>
  </p:clrMapOvr>
  <p:hf sldNum="0" hd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323522"/>
      </p:ext>
    </p:extLst>
  </p:cSld>
  <p:clrMapOvr>
    <a:masterClrMapping/>
  </p:clrMapOvr>
  <p:hf sldNum="0"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124303"/>
      </p:ext>
    </p:extLst>
  </p:cSld>
  <p:clrMapOvr>
    <a:masterClrMapping/>
  </p:clrMapOvr>
  <p:hf sldNum="0"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3531999"/>
      </p:ext>
    </p:extLst>
  </p:cSld>
  <p:clrMapOvr>
    <a:masterClrMapping/>
  </p:clrMapOvr>
  <p:hf sldNum="0"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8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" t="331" r="52" b="284"/>
          <a:stretch>
            <a:fillRect/>
          </a:stretch>
        </p:blipFill>
        <p:spPr bwMode="auto">
          <a:xfrm>
            <a:off x="0" y="3429001"/>
            <a:ext cx="12192000" cy="2044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86" tIns="47094" rIns="94186" bIns="47094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37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662" i="1" dirty="0" smtClean="0">
              <a:solidFill>
                <a:srgbClr val="000000"/>
              </a:solidFill>
            </a:endParaRPr>
          </a:p>
        </p:txBody>
      </p:sp>
      <p:sp>
        <p:nvSpPr>
          <p:cNvPr id="5" name="AutoShape 27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86" tIns="47094" rIns="94186" bIns="47094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34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662" b="0" i="1" dirty="0" smtClean="0">
              <a:solidFill>
                <a:srgbClr val="000000"/>
              </a:solidFill>
            </a:endParaRPr>
          </a:p>
        </p:txBody>
      </p:sp>
      <p:pic>
        <p:nvPicPr>
          <p:cNvPr id="6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1995293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5551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2747108"/>
            <a:ext cx="10362827" cy="410038"/>
          </a:xfrm>
          <a:ln algn="ctr"/>
        </p:spPr>
        <p:txBody>
          <a:bodyPr bIns="0" anchor="b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7" name="Rectangle 51"/>
          <p:cNvSpPr>
            <a:spLocks noGrp="1" noChangeArrowheads="1"/>
          </p:cNvSpPr>
          <p:nvPr>
            <p:ph type="ftr" sz="quarter" idx="10"/>
          </p:nvPr>
        </p:nvSpPr>
        <p:spPr>
          <a:xfrm>
            <a:off x="845527" y="6404405"/>
            <a:ext cx="65" cy="160172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7594709"/>
      </p:ext>
    </p:extLst>
  </p:cSld>
  <p:clrMapOvr>
    <a:masterClrMapping/>
  </p:clrMapOvr>
  <p:hf sldNum="0"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3524" y="2015648"/>
            <a:ext cx="9899934" cy="1390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47047" y="3676825"/>
            <a:ext cx="8152887" cy="1658176"/>
          </a:xfrm>
        </p:spPr>
        <p:txBody>
          <a:bodyPr/>
          <a:lstStyle>
            <a:lvl1pPr marL="0" indent="0" algn="ctr">
              <a:buNone/>
              <a:defRPr/>
            </a:lvl1pPr>
            <a:lvl2pPr marL="432497" indent="0" algn="ctr">
              <a:buNone/>
              <a:defRPr/>
            </a:lvl2pPr>
            <a:lvl3pPr marL="864997" indent="0" algn="ctr">
              <a:buNone/>
              <a:defRPr/>
            </a:lvl3pPr>
            <a:lvl4pPr marL="1297492" indent="0" algn="ctr">
              <a:buNone/>
              <a:defRPr/>
            </a:lvl4pPr>
            <a:lvl5pPr marL="1729989" indent="0" algn="ctr">
              <a:buNone/>
              <a:defRPr/>
            </a:lvl5pPr>
            <a:lvl6pPr marL="2162488" indent="0" algn="ctr">
              <a:buNone/>
              <a:defRPr/>
            </a:lvl6pPr>
            <a:lvl7pPr marL="2594986" indent="0" algn="ctr">
              <a:buNone/>
              <a:defRPr/>
            </a:lvl7pPr>
            <a:lvl8pPr marL="3027483" indent="0" algn="ctr">
              <a:buNone/>
              <a:defRPr/>
            </a:lvl8pPr>
            <a:lvl9pPr marL="3459979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9358131"/>
      </p:ext>
    </p:extLst>
  </p:cSld>
  <p:clrMapOvr>
    <a:masterClrMapping/>
  </p:clrMapOvr>
  <p:hf sldNum="0" hd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4265955"/>
      </p:ext>
    </p:extLst>
  </p:cSld>
  <p:clrMapOvr>
    <a:masterClrMapping/>
  </p:clrMapOvr>
  <p:hf sldNum="0"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187" y="4169474"/>
            <a:ext cx="9899934" cy="1288691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0187" y="2750110"/>
            <a:ext cx="9899934" cy="1419362"/>
          </a:xfrm>
        </p:spPr>
        <p:txBody>
          <a:bodyPr anchor="b"/>
          <a:lstStyle>
            <a:lvl1pPr marL="0" indent="0">
              <a:buNone/>
              <a:defRPr sz="1892"/>
            </a:lvl1pPr>
            <a:lvl2pPr marL="432497" indent="0">
              <a:buNone/>
              <a:defRPr sz="1703"/>
            </a:lvl2pPr>
            <a:lvl3pPr marL="864997" indent="0">
              <a:buNone/>
              <a:defRPr sz="1514"/>
            </a:lvl3pPr>
            <a:lvl4pPr marL="1297492" indent="0">
              <a:buNone/>
              <a:defRPr sz="1325"/>
            </a:lvl4pPr>
            <a:lvl5pPr marL="1729989" indent="0">
              <a:buNone/>
              <a:defRPr sz="1325"/>
            </a:lvl5pPr>
            <a:lvl6pPr marL="2162488" indent="0">
              <a:buNone/>
              <a:defRPr sz="1325"/>
            </a:lvl6pPr>
            <a:lvl7pPr marL="2594986" indent="0">
              <a:buNone/>
              <a:defRPr sz="1325"/>
            </a:lvl7pPr>
            <a:lvl8pPr marL="3027483" indent="0">
              <a:buNone/>
              <a:defRPr sz="1325"/>
            </a:lvl8pPr>
            <a:lvl9pPr marL="3459979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5447994"/>
      </p:ext>
    </p:extLst>
  </p:cSld>
  <p:clrMapOvr>
    <a:masterClrMapping/>
  </p:clrMapOvr>
  <p:hf sldNum="0"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5" y="1632645"/>
            <a:ext cx="5060090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8" y="1632645"/>
            <a:ext cx="5061957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8417993"/>
      </p:ext>
    </p:extLst>
  </p:cSld>
  <p:clrMapOvr>
    <a:masterClrMapping/>
  </p:clrMapOvr>
  <p:hf sldNum="0" hd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350" y="259843"/>
            <a:ext cx="10482283" cy="10814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2349" y="1452406"/>
            <a:ext cx="5145950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97" indent="0">
              <a:buNone/>
              <a:defRPr sz="1892" b="1"/>
            </a:lvl2pPr>
            <a:lvl3pPr marL="864997" indent="0">
              <a:buNone/>
              <a:defRPr sz="1703" b="1"/>
            </a:lvl3pPr>
            <a:lvl4pPr marL="1297492" indent="0">
              <a:buNone/>
              <a:defRPr sz="1514" b="1"/>
            </a:lvl4pPr>
            <a:lvl5pPr marL="1729989" indent="0">
              <a:buNone/>
              <a:defRPr sz="1514" b="1"/>
            </a:lvl5pPr>
            <a:lvl6pPr marL="2162488" indent="0">
              <a:buNone/>
              <a:defRPr sz="1514" b="1"/>
            </a:lvl6pPr>
            <a:lvl7pPr marL="2594986" indent="0">
              <a:buNone/>
              <a:defRPr sz="1514" b="1"/>
            </a:lvl7pPr>
            <a:lvl8pPr marL="3027483" indent="0">
              <a:buNone/>
              <a:defRPr sz="1514" b="1"/>
            </a:lvl8pPr>
            <a:lvl9pPr marL="3459979" indent="0">
              <a:buNone/>
              <a:defRPr sz="1514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349" y="2057702"/>
            <a:ext cx="5145950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514"/>
            </a:lvl4pPr>
            <a:lvl5pPr>
              <a:defRPr sz="1514"/>
            </a:lvl5pPr>
            <a:lvl6pPr>
              <a:defRPr sz="1514"/>
            </a:lvl6pPr>
            <a:lvl7pPr>
              <a:defRPr sz="1514"/>
            </a:lvl7pPr>
            <a:lvl8pPr>
              <a:defRPr sz="1514"/>
            </a:lvl8pPr>
            <a:lvl9pPr>
              <a:defRPr sz="151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16819" y="1452406"/>
            <a:ext cx="5147816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97" indent="0">
              <a:buNone/>
              <a:defRPr sz="1892" b="1"/>
            </a:lvl2pPr>
            <a:lvl3pPr marL="864997" indent="0">
              <a:buNone/>
              <a:defRPr sz="1703" b="1"/>
            </a:lvl3pPr>
            <a:lvl4pPr marL="1297492" indent="0">
              <a:buNone/>
              <a:defRPr sz="1514" b="1"/>
            </a:lvl4pPr>
            <a:lvl5pPr marL="1729989" indent="0">
              <a:buNone/>
              <a:defRPr sz="1514" b="1"/>
            </a:lvl5pPr>
            <a:lvl6pPr marL="2162488" indent="0">
              <a:buNone/>
              <a:defRPr sz="1514" b="1"/>
            </a:lvl6pPr>
            <a:lvl7pPr marL="2594986" indent="0">
              <a:buNone/>
              <a:defRPr sz="1514" b="1"/>
            </a:lvl7pPr>
            <a:lvl8pPr marL="3027483" indent="0">
              <a:buNone/>
              <a:defRPr sz="1514" b="1"/>
            </a:lvl8pPr>
            <a:lvl9pPr marL="3459979" indent="0">
              <a:buNone/>
              <a:defRPr sz="1514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16819" y="2057702"/>
            <a:ext cx="5147816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514"/>
            </a:lvl4pPr>
            <a:lvl5pPr>
              <a:defRPr sz="1514"/>
            </a:lvl5pPr>
            <a:lvl6pPr>
              <a:defRPr sz="1514"/>
            </a:lvl6pPr>
            <a:lvl7pPr>
              <a:defRPr sz="1514"/>
            </a:lvl7pPr>
            <a:lvl8pPr>
              <a:defRPr sz="1514"/>
            </a:lvl8pPr>
            <a:lvl9pPr>
              <a:defRPr sz="151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8708592"/>
      </p:ext>
    </p:extLst>
  </p:cSld>
  <p:clrMapOvr>
    <a:masterClrMapping/>
  </p:clrMapOvr>
  <p:hf sldNum="0"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31473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1" cy="1362075"/>
          </a:xfrm>
        </p:spPr>
        <p:txBody>
          <a:bodyPr anchor="t"/>
          <a:lstStyle>
            <a:lvl1pPr algn="l">
              <a:defRPr sz="4163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6"/>
            <a:ext cx="10363201" cy="1500187"/>
          </a:xfrm>
        </p:spPr>
        <p:txBody>
          <a:bodyPr anchor="b"/>
          <a:lstStyle>
            <a:lvl1pPr marL="0" indent="0">
              <a:buNone/>
              <a:defRPr sz="2081"/>
            </a:lvl1pPr>
            <a:lvl2pPr marL="476046" indent="0">
              <a:buNone/>
              <a:defRPr sz="1892"/>
            </a:lvl2pPr>
            <a:lvl3pPr marL="952094" indent="0">
              <a:buNone/>
              <a:defRPr sz="1703"/>
            </a:lvl3pPr>
            <a:lvl4pPr marL="1428141" indent="0">
              <a:buNone/>
              <a:defRPr sz="1419"/>
            </a:lvl4pPr>
            <a:lvl5pPr marL="1904189" indent="0">
              <a:buNone/>
              <a:defRPr sz="1419"/>
            </a:lvl5pPr>
            <a:lvl6pPr marL="2380234" indent="0">
              <a:buNone/>
              <a:defRPr sz="1419"/>
            </a:lvl6pPr>
            <a:lvl7pPr marL="2856283" indent="0">
              <a:buNone/>
              <a:defRPr sz="1419"/>
            </a:lvl7pPr>
            <a:lvl8pPr marL="3332329" indent="0">
              <a:buNone/>
              <a:defRPr sz="1419"/>
            </a:lvl8pPr>
            <a:lvl9pPr marL="3808376" indent="0">
              <a:buNone/>
              <a:defRPr sz="1419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68FB4-F981-46C1-A12C-F57DCBF1175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097061"/>
      </p:ext>
    </p:extLst>
  </p:cSld>
  <p:clrMapOvr>
    <a:masterClrMapping/>
  </p:clrMapOvr>
  <p:hf sldNum="0" hd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4232549"/>
      </p:ext>
    </p:extLst>
  </p:cSld>
  <p:clrMapOvr>
    <a:masterClrMapping/>
  </p:clrMapOvr>
  <p:hf sldNum="0"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349" y="258341"/>
            <a:ext cx="3831932" cy="1099443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4270" y="258339"/>
            <a:ext cx="6510364" cy="5537768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349" y="1357784"/>
            <a:ext cx="3831932" cy="4438325"/>
          </a:xfrm>
        </p:spPr>
        <p:txBody>
          <a:bodyPr/>
          <a:lstStyle>
            <a:lvl1pPr marL="0" indent="0">
              <a:buNone/>
              <a:defRPr sz="1325"/>
            </a:lvl1pPr>
            <a:lvl2pPr marL="432497" indent="0">
              <a:buNone/>
              <a:defRPr sz="1135"/>
            </a:lvl2pPr>
            <a:lvl3pPr marL="864997" indent="0">
              <a:buNone/>
              <a:defRPr sz="1041"/>
            </a:lvl3pPr>
            <a:lvl4pPr marL="1297492" indent="0">
              <a:buNone/>
              <a:defRPr sz="851"/>
            </a:lvl4pPr>
            <a:lvl5pPr marL="1729989" indent="0">
              <a:buNone/>
              <a:defRPr sz="851"/>
            </a:lvl5pPr>
            <a:lvl6pPr marL="2162488" indent="0">
              <a:buNone/>
              <a:defRPr sz="851"/>
            </a:lvl6pPr>
            <a:lvl7pPr marL="2594986" indent="0">
              <a:buNone/>
              <a:defRPr sz="851"/>
            </a:lvl7pPr>
            <a:lvl8pPr marL="3027483" indent="0">
              <a:buNone/>
              <a:defRPr sz="851"/>
            </a:lvl8pPr>
            <a:lvl9pPr marL="3459979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8332425"/>
      </p:ext>
    </p:extLst>
  </p:cSld>
  <p:clrMapOvr>
    <a:masterClrMapping/>
  </p:clrMapOvr>
  <p:hf sldNum="0"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2736" y="4541961"/>
            <a:ext cx="6988189" cy="536204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2736" y="579763"/>
            <a:ext cx="6988189" cy="3893109"/>
          </a:xfrm>
        </p:spPr>
        <p:txBody>
          <a:bodyPr tIns="0"/>
          <a:lstStyle>
            <a:lvl1pPr marL="0" indent="0">
              <a:buNone/>
              <a:defRPr sz="3028"/>
            </a:lvl1pPr>
            <a:lvl2pPr marL="432497" indent="0">
              <a:buNone/>
              <a:defRPr sz="2649"/>
            </a:lvl2pPr>
            <a:lvl3pPr marL="864997" indent="0">
              <a:buNone/>
              <a:defRPr sz="2271"/>
            </a:lvl3pPr>
            <a:lvl4pPr marL="1297492" indent="0">
              <a:buNone/>
              <a:defRPr sz="1892"/>
            </a:lvl4pPr>
            <a:lvl5pPr marL="1729989" indent="0">
              <a:buNone/>
              <a:defRPr sz="1892"/>
            </a:lvl5pPr>
            <a:lvl6pPr marL="2162488" indent="0">
              <a:buNone/>
              <a:defRPr sz="1892"/>
            </a:lvl6pPr>
            <a:lvl7pPr marL="2594986" indent="0">
              <a:buNone/>
              <a:defRPr sz="1892"/>
            </a:lvl7pPr>
            <a:lvl8pPr marL="3027483" indent="0">
              <a:buNone/>
              <a:defRPr sz="1892"/>
            </a:lvl8pPr>
            <a:lvl9pPr marL="3459979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2736" y="5078167"/>
            <a:ext cx="6988189" cy="761499"/>
          </a:xfrm>
        </p:spPr>
        <p:txBody>
          <a:bodyPr/>
          <a:lstStyle>
            <a:lvl1pPr marL="0" indent="0">
              <a:buNone/>
              <a:defRPr sz="1325"/>
            </a:lvl1pPr>
            <a:lvl2pPr marL="432497" indent="0">
              <a:buNone/>
              <a:defRPr sz="1135"/>
            </a:lvl2pPr>
            <a:lvl3pPr marL="864997" indent="0">
              <a:buNone/>
              <a:defRPr sz="1041"/>
            </a:lvl3pPr>
            <a:lvl4pPr marL="1297492" indent="0">
              <a:buNone/>
              <a:defRPr sz="851"/>
            </a:lvl4pPr>
            <a:lvl5pPr marL="1729989" indent="0">
              <a:buNone/>
              <a:defRPr sz="851"/>
            </a:lvl5pPr>
            <a:lvl6pPr marL="2162488" indent="0">
              <a:buNone/>
              <a:defRPr sz="851"/>
            </a:lvl6pPr>
            <a:lvl7pPr marL="2594986" indent="0">
              <a:buNone/>
              <a:defRPr sz="851"/>
            </a:lvl7pPr>
            <a:lvl8pPr marL="3027483" indent="0">
              <a:buNone/>
              <a:defRPr sz="851"/>
            </a:lvl8pPr>
            <a:lvl9pPr marL="3459979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5918712"/>
      </p:ext>
    </p:extLst>
  </p:cSld>
  <p:clrMapOvr>
    <a:masterClrMapping/>
  </p:clrMapOvr>
  <p:hf sldNum="0"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9071068"/>
      </p:ext>
    </p:extLst>
  </p:cSld>
  <p:clrMapOvr>
    <a:masterClrMapping/>
  </p:clrMapOvr>
  <p:hf sldNum="0"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74212" y="608299"/>
            <a:ext cx="2575775" cy="19856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1286" y="608299"/>
            <a:ext cx="7553741" cy="19856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5294103"/>
      </p:ext>
    </p:extLst>
  </p:cSld>
  <p:clrMapOvr>
    <a:masterClrMapping/>
  </p:clrMapOvr>
  <p:hf sldNum="0"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466181"/>
      </p:ext>
    </p:extLst>
  </p:cSld>
  <p:clrMapOvr>
    <a:masterClrMapping/>
  </p:clrMapOvr>
  <p:hf sldNum="0"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214565" y="6356342"/>
            <a:ext cx="3859929" cy="36497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654291"/>
      </p:ext>
    </p:extLst>
  </p:cSld>
  <p:clrMapOvr>
    <a:masterClrMapping/>
  </p:clrMapOvr>
  <p:hf sldNum="0"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486868"/>
      </p:ext>
    </p:extLst>
  </p:cSld>
  <p:clrMapOvr>
    <a:masterClrMapping/>
  </p:clrMapOvr>
  <p:hf sldNum="0"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304746"/>
      </p:ext>
    </p:extLst>
  </p:cSld>
  <p:clrMapOvr>
    <a:masterClrMapping/>
  </p:clrMapOvr>
  <p:hf sldNum="0" hd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2" y="294387"/>
            <a:ext cx="10836919" cy="68189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5" y="1632645"/>
            <a:ext cx="5060090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8" y="1632645"/>
            <a:ext cx="5061957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490161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3"/>
            <a:ext cx="5384800" cy="4525963"/>
          </a:xfrm>
        </p:spPr>
        <p:txBody>
          <a:bodyPr/>
          <a:lstStyle>
            <a:lvl1pPr>
              <a:defRPr sz="2933"/>
            </a:lvl1pPr>
            <a:lvl2pPr>
              <a:defRPr sz="2460"/>
            </a:lvl2pPr>
            <a:lvl3pPr>
              <a:defRPr sz="208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3" y="1371603"/>
            <a:ext cx="5384800" cy="4525963"/>
          </a:xfrm>
        </p:spPr>
        <p:txBody>
          <a:bodyPr/>
          <a:lstStyle>
            <a:lvl1pPr>
              <a:defRPr sz="2933"/>
            </a:lvl1pPr>
            <a:lvl2pPr>
              <a:defRPr sz="2460"/>
            </a:lvl2pPr>
            <a:lvl3pPr>
              <a:defRPr sz="208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1078B5-48D5-4E8D-8D15-07B31CFB0B8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8125102"/>
      </p:ext>
    </p:extLst>
  </p:cSld>
  <p:clrMapOvr>
    <a:masterClrMapping/>
  </p:clrMapOvr>
  <p:hf sldNum="0" hd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123011"/>
      </p:ext>
    </p:extLst>
  </p:cSld>
  <p:clrMapOvr>
    <a:masterClrMapping/>
  </p:clrMapOvr>
  <p:hf sldNum="0" hd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214565" y="6356342"/>
            <a:ext cx="3859929" cy="36497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269895"/>
      </p:ext>
    </p:extLst>
  </p:cSld>
  <p:clrMapOvr>
    <a:masterClrMapping/>
  </p:clrMapOvr>
  <p:hf sldNum="0" hd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761983"/>
      </p:ext>
    </p:extLst>
  </p:cSld>
  <p:clrMapOvr>
    <a:masterClrMapping/>
  </p:clrMapOvr>
  <p:hf sldNum="0"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442587"/>
      </p:ext>
    </p:extLst>
  </p:cSld>
  <p:clrMapOvr>
    <a:masterClrMapping/>
  </p:clrMapOvr>
  <p:hf sldNum="0"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2" y="294387"/>
            <a:ext cx="10836919" cy="68189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5" y="1632645"/>
            <a:ext cx="5060090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8" y="1632645"/>
            <a:ext cx="5061957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59386"/>
      </p:ext>
    </p:extLst>
  </p:cSld>
  <p:clrMapOvr>
    <a:masterClrMapping/>
  </p:clrMapOvr>
  <p:hf sldNum="0" hd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527917"/>
      </p:ext>
    </p:extLst>
  </p:cSld>
  <p:clrMapOvr>
    <a:masterClrMapping/>
  </p:clrMapOvr>
  <p:hf sldNum="0" hd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214565" y="6356342"/>
            <a:ext cx="3859929" cy="36497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098773"/>
      </p:ext>
    </p:extLst>
  </p:cSld>
  <p:clrMapOvr>
    <a:masterClrMapping/>
  </p:clrMapOvr>
  <p:hf sldNum="0"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484316"/>
      </p:ext>
    </p:extLst>
  </p:cSld>
  <p:clrMapOvr>
    <a:masterClrMapping/>
  </p:clrMapOvr>
  <p:hf sldNum="0"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396361"/>
      </p:ext>
    </p:extLst>
  </p:cSld>
  <p:clrMapOvr>
    <a:masterClrMapping/>
  </p:clrMapOvr>
  <p:hf sldNum="0" hd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2" y="294387"/>
            <a:ext cx="10836919" cy="68189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5" y="1632645"/>
            <a:ext cx="5060090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8" y="1632645"/>
            <a:ext cx="5061957" cy="961261"/>
          </a:xfrm>
          <a:prstGeom prst="rect">
            <a:avLst/>
          </a:prstGeo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5186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1535113"/>
            <a:ext cx="5386917" cy="639762"/>
          </a:xfrm>
        </p:spPr>
        <p:txBody>
          <a:bodyPr anchor="b"/>
          <a:lstStyle>
            <a:lvl1pPr marL="0" indent="0">
              <a:buNone/>
              <a:defRPr sz="2460" b="1"/>
            </a:lvl1pPr>
            <a:lvl2pPr marL="476046" indent="0">
              <a:buNone/>
              <a:defRPr sz="2081" b="1"/>
            </a:lvl2pPr>
            <a:lvl3pPr marL="952094" indent="0">
              <a:buNone/>
              <a:defRPr sz="1892" b="1"/>
            </a:lvl3pPr>
            <a:lvl4pPr marL="1428141" indent="0">
              <a:buNone/>
              <a:defRPr sz="1703" b="1"/>
            </a:lvl4pPr>
            <a:lvl5pPr marL="1904189" indent="0">
              <a:buNone/>
              <a:defRPr sz="1703" b="1"/>
            </a:lvl5pPr>
            <a:lvl6pPr marL="2380234" indent="0">
              <a:buNone/>
              <a:defRPr sz="1703" b="1"/>
            </a:lvl6pPr>
            <a:lvl7pPr marL="2856283" indent="0">
              <a:buNone/>
              <a:defRPr sz="1703" b="1"/>
            </a:lvl7pPr>
            <a:lvl8pPr marL="3332329" indent="0">
              <a:buNone/>
              <a:defRPr sz="1703" b="1"/>
            </a:lvl8pPr>
            <a:lvl9pPr marL="3808376" indent="0">
              <a:buNone/>
              <a:defRPr sz="170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3" y="2174875"/>
            <a:ext cx="5386917" cy="3951288"/>
          </a:xfrm>
        </p:spPr>
        <p:txBody>
          <a:bodyPr/>
          <a:lstStyle>
            <a:lvl1pPr>
              <a:defRPr sz="2460"/>
            </a:lvl1pPr>
            <a:lvl2pPr>
              <a:defRPr sz="208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60" b="1"/>
            </a:lvl1pPr>
            <a:lvl2pPr marL="476046" indent="0">
              <a:buNone/>
              <a:defRPr sz="2081" b="1"/>
            </a:lvl2pPr>
            <a:lvl3pPr marL="952094" indent="0">
              <a:buNone/>
              <a:defRPr sz="1892" b="1"/>
            </a:lvl3pPr>
            <a:lvl4pPr marL="1428141" indent="0">
              <a:buNone/>
              <a:defRPr sz="1703" b="1"/>
            </a:lvl4pPr>
            <a:lvl5pPr marL="1904189" indent="0">
              <a:buNone/>
              <a:defRPr sz="1703" b="1"/>
            </a:lvl5pPr>
            <a:lvl6pPr marL="2380234" indent="0">
              <a:buNone/>
              <a:defRPr sz="1703" b="1"/>
            </a:lvl6pPr>
            <a:lvl7pPr marL="2856283" indent="0">
              <a:buNone/>
              <a:defRPr sz="1703" b="1"/>
            </a:lvl7pPr>
            <a:lvl8pPr marL="3332329" indent="0">
              <a:buNone/>
              <a:defRPr sz="1703" b="1"/>
            </a:lvl8pPr>
            <a:lvl9pPr marL="3808376" indent="0">
              <a:buNone/>
              <a:defRPr sz="170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60"/>
            </a:lvl1pPr>
            <a:lvl2pPr>
              <a:defRPr sz="208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BEB68A-50A4-44BE-8E4A-96268A26CEA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680397"/>
      </p:ext>
    </p:extLst>
  </p:cSld>
  <p:clrMapOvr>
    <a:masterClrMapping/>
  </p:clrMapOvr>
  <p:hf sldNum="0" hd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79972" y="1198800"/>
            <a:ext cx="11032067" cy="415440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Quotation lev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447928" y="6638306"/>
            <a:ext cx="3744076" cy="219694"/>
          </a:xfrm>
          <a:prstGeom prst="rect">
            <a:avLst/>
          </a:prstGeom>
        </p:spPr>
        <p:txBody>
          <a:bodyPr/>
          <a:lstStyle>
            <a:lvl1pPr algn="r">
              <a:defRPr sz="1041"/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583013"/>
      </p:ext>
    </p:extLst>
  </p:cSld>
  <p:clrMapOvr>
    <a:masterClrMapping/>
  </p:clrMapOvr>
  <p:hf sldNum="0" hd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4165605" y="6356354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392279"/>
      </p:ext>
    </p:extLst>
  </p:cSld>
  <p:clrMapOvr>
    <a:masterClrMapping/>
  </p:clrMapOvr>
  <p:hf sldNum="0" hd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331200" y="6492879"/>
            <a:ext cx="3860800" cy="365125"/>
          </a:xfrm>
          <a:prstGeom prst="rect">
            <a:avLst/>
          </a:prstGeom>
        </p:spPr>
        <p:txBody>
          <a:bodyPr/>
          <a:lstStyle>
            <a:lvl1pPr algn="r">
              <a:defRPr sz="1041"/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290966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354CDF-C77E-491B-8C25-CF603F4C594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9242185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A0A361-3087-4D4D-9A37-6B3543FAAFB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7053595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306572"/>
      </p:ext>
    </p:extLst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5" cy="1162050"/>
          </a:xfrm>
        </p:spPr>
        <p:txBody>
          <a:bodyPr anchor="b"/>
          <a:lstStyle>
            <a:lvl1pPr algn="l">
              <a:defRPr sz="2081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6" cy="5853113"/>
          </a:xfrm>
        </p:spPr>
        <p:txBody>
          <a:bodyPr/>
          <a:lstStyle>
            <a:lvl1pPr>
              <a:defRPr sz="3311"/>
            </a:lvl1pPr>
            <a:lvl2pPr>
              <a:defRPr sz="2933"/>
            </a:lvl2pPr>
            <a:lvl3pPr>
              <a:defRPr sz="2460"/>
            </a:lvl3pPr>
            <a:lvl4pPr>
              <a:defRPr sz="2081"/>
            </a:lvl4pPr>
            <a:lvl5pPr>
              <a:defRPr sz="2081"/>
            </a:lvl5pPr>
            <a:lvl6pPr>
              <a:defRPr sz="2081"/>
            </a:lvl6pPr>
            <a:lvl7pPr>
              <a:defRPr sz="2081"/>
            </a:lvl7pPr>
            <a:lvl8pPr>
              <a:defRPr sz="2081"/>
            </a:lvl8pPr>
            <a:lvl9pPr>
              <a:defRPr sz="208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5" cy="4691063"/>
          </a:xfrm>
        </p:spPr>
        <p:txBody>
          <a:bodyPr/>
          <a:lstStyle>
            <a:lvl1pPr marL="0" indent="0">
              <a:buNone/>
              <a:defRPr sz="1419"/>
            </a:lvl1pPr>
            <a:lvl2pPr marL="476046" indent="0">
              <a:buNone/>
              <a:defRPr sz="1230"/>
            </a:lvl2pPr>
            <a:lvl3pPr marL="952094" indent="0">
              <a:buNone/>
              <a:defRPr sz="1041"/>
            </a:lvl3pPr>
            <a:lvl4pPr marL="1428141" indent="0">
              <a:buNone/>
              <a:defRPr sz="946"/>
            </a:lvl4pPr>
            <a:lvl5pPr marL="1904189" indent="0">
              <a:buNone/>
              <a:defRPr sz="946"/>
            </a:lvl5pPr>
            <a:lvl6pPr marL="2380234" indent="0">
              <a:buNone/>
              <a:defRPr sz="946"/>
            </a:lvl6pPr>
            <a:lvl7pPr marL="2856283" indent="0">
              <a:buNone/>
              <a:defRPr sz="946"/>
            </a:lvl7pPr>
            <a:lvl8pPr marL="3332329" indent="0">
              <a:buNone/>
              <a:defRPr sz="946"/>
            </a:lvl8pPr>
            <a:lvl9pPr marL="3808376" indent="0">
              <a:buNone/>
              <a:defRPr sz="94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E6F87A-A1F6-40B2-B49F-56C88F7E6F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485792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81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311"/>
            </a:lvl1pPr>
            <a:lvl2pPr marL="476046" indent="0">
              <a:buNone/>
              <a:defRPr sz="2933"/>
            </a:lvl2pPr>
            <a:lvl3pPr marL="952094" indent="0">
              <a:buNone/>
              <a:defRPr sz="2460"/>
            </a:lvl3pPr>
            <a:lvl4pPr marL="1428141" indent="0">
              <a:buNone/>
              <a:defRPr sz="2081"/>
            </a:lvl4pPr>
            <a:lvl5pPr marL="1904189" indent="0">
              <a:buNone/>
              <a:defRPr sz="2081"/>
            </a:lvl5pPr>
            <a:lvl6pPr marL="2380234" indent="0">
              <a:buNone/>
              <a:defRPr sz="2081"/>
            </a:lvl6pPr>
            <a:lvl7pPr marL="2856283" indent="0">
              <a:buNone/>
              <a:defRPr sz="2081"/>
            </a:lvl7pPr>
            <a:lvl8pPr marL="3332329" indent="0">
              <a:buNone/>
              <a:defRPr sz="2081"/>
            </a:lvl8pPr>
            <a:lvl9pPr marL="3808376" indent="0">
              <a:buNone/>
              <a:defRPr sz="2081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19"/>
            </a:lvl1pPr>
            <a:lvl2pPr marL="476046" indent="0">
              <a:buNone/>
              <a:defRPr sz="1230"/>
            </a:lvl2pPr>
            <a:lvl3pPr marL="952094" indent="0">
              <a:buNone/>
              <a:defRPr sz="1041"/>
            </a:lvl3pPr>
            <a:lvl4pPr marL="1428141" indent="0">
              <a:buNone/>
              <a:defRPr sz="946"/>
            </a:lvl4pPr>
            <a:lvl5pPr marL="1904189" indent="0">
              <a:buNone/>
              <a:defRPr sz="946"/>
            </a:lvl5pPr>
            <a:lvl6pPr marL="2380234" indent="0">
              <a:buNone/>
              <a:defRPr sz="946"/>
            </a:lvl6pPr>
            <a:lvl7pPr marL="2856283" indent="0">
              <a:buNone/>
              <a:defRPr sz="946"/>
            </a:lvl7pPr>
            <a:lvl8pPr marL="3332329" indent="0">
              <a:buNone/>
              <a:defRPr sz="946"/>
            </a:lvl8pPr>
            <a:lvl9pPr marL="3808376" indent="0">
              <a:buNone/>
              <a:defRPr sz="94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07DE8A-8CFC-40BC-B6C4-A73C7FA16BA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6566360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C7B916-A6FD-42D0-B8E5-3354E750B45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9007433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3" y="503238"/>
            <a:ext cx="2743200" cy="5394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03238"/>
            <a:ext cx="8026400" cy="53943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99F28D-0AFD-4E70-8DDD-735C44460D0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5432459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503238"/>
            <a:ext cx="10972800" cy="7159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609604" y="1371603"/>
            <a:ext cx="10972800" cy="4525963"/>
          </a:xfrm>
        </p:spPr>
        <p:txBody>
          <a:bodyPr/>
          <a:lstStyle/>
          <a:p>
            <a:pPr lvl="0"/>
            <a:r>
              <a:rPr lang="en-US" noProof="0" smtClean="0"/>
              <a:t>Click icon to add SmartArt graphic</a:t>
            </a:r>
            <a:endParaRPr lang="en-US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138B33-B7B6-498F-B656-F3E6EF152A6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5178746"/>
      </p:ext>
    </p:extLst>
  </p:cSld>
  <p:clrMapOvr>
    <a:masterClrMapping/>
  </p:clrMapOvr>
  <p:transition/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503238"/>
            <a:ext cx="10972800" cy="7159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3"/>
            <a:ext cx="53848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3" y="1371600"/>
            <a:ext cx="53848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3" y="3709991"/>
            <a:ext cx="53848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ED1B5E-4790-47B1-A816-A0EC450773E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565521"/>
      </p:ext>
    </p:extLst>
  </p:cSld>
  <p:clrMapOvr>
    <a:masterClrMapping/>
  </p:clrMapOvr>
  <p:transition/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" t="331" r="52" b="284"/>
          <a:stretch>
            <a:fillRect/>
          </a:stretch>
        </p:blipFill>
        <p:spPr bwMode="auto">
          <a:xfrm>
            <a:off x="0" y="3429001"/>
            <a:ext cx="12192000" cy="2044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68" tIns="47085" rIns="94168" bIns="47085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/>
          </a:p>
        </p:txBody>
      </p:sp>
      <p:sp>
        <p:nvSpPr>
          <p:cNvPr id="5" name="AutoShape 4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68" tIns="47085" rIns="94168" bIns="47085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pic>
        <p:nvPicPr>
          <p:cNvPr id="6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1995293" cy="28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2747108"/>
            <a:ext cx="10362827" cy="410038"/>
          </a:xfrm>
          <a:ln algn="ctr"/>
        </p:spPr>
        <p:txBody>
          <a:bodyPr bIns="0" anchor="b"/>
          <a:lstStyle>
            <a:lvl1pPr>
              <a:lnSpc>
                <a:spcPct val="100000"/>
              </a:lnSpc>
              <a:defRPr sz="2838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0"/>
          </p:nvPr>
        </p:nvSpPr>
        <p:spPr>
          <a:xfrm>
            <a:off x="845527" y="6404405"/>
            <a:ext cx="65" cy="160172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371902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530615"/>
      </p:ext>
    </p:extLst>
  </p:cSld>
  <p:clrMapOvr>
    <a:masterClrMapping/>
  </p:clrMapOvr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116" y="4406786"/>
            <a:ext cx="10362827" cy="1362288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116" y="2906314"/>
            <a:ext cx="10362827" cy="1500469"/>
          </a:xfrm>
        </p:spPr>
        <p:txBody>
          <a:bodyPr anchor="b"/>
          <a:lstStyle>
            <a:lvl1pPr marL="0" indent="0">
              <a:buNone/>
              <a:defRPr sz="1892"/>
            </a:lvl1pPr>
            <a:lvl2pPr marL="432417" indent="0">
              <a:buNone/>
              <a:defRPr sz="1703"/>
            </a:lvl2pPr>
            <a:lvl3pPr marL="864833" indent="0">
              <a:buNone/>
              <a:defRPr sz="1608"/>
            </a:lvl3pPr>
            <a:lvl4pPr marL="1297249" indent="0">
              <a:buNone/>
              <a:defRPr sz="1325"/>
            </a:lvl4pPr>
            <a:lvl5pPr marL="1729665" indent="0">
              <a:buNone/>
              <a:defRPr sz="1325"/>
            </a:lvl5pPr>
            <a:lvl6pPr marL="2162081" indent="0">
              <a:buNone/>
              <a:defRPr sz="1325"/>
            </a:lvl6pPr>
            <a:lvl7pPr marL="2594498" indent="0">
              <a:buNone/>
              <a:defRPr sz="1325"/>
            </a:lvl7pPr>
            <a:lvl8pPr marL="3026914" indent="0">
              <a:buNone/>
              <a:defRPr sz="1325"/>
            </a:lvl8pPr>
            <a:lvl9pPr marL="3459330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621924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541" y="1249642"/>
            <a:ext cx="5328867" cy="4973027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5595" y="1249642"/>
            <a:ext cx="5328868" cy="4973027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64523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39636"/>
      </p:ext>
    </p:extLst>
  </p:cSld>
  <p:clrMapOvr>
    <a:masterClrMapping/>
  </p:clrMapOvr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50" y="274861"/>
            <a:ext cx="109713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348" y="1535017"/>
            <a:ext cx="5386730" cy="639840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348" y="2174857"/>
            <a:ext cx="5386730" cy="3951686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061" y="1535017"/>
            <a:ext cx="5388596" cy="639840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061" y="2174857"/>
            <a:ext cx="5388596" cy="3951686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297844"/>
      </p:ext>
    </p:extLst>
  </p:cSld>
  <p:clrMapOvr>
    <a:masterClrMapping/>
  </p:clrMapOvr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715270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888162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48" y="273359"/>
            <a:ext cx="4011115" cy="1161024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053" y="273359"/>
            <a:ext cx="6814604" cy="5853182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348" y="1434383"/>
            <a:ext cx="4011115" cy="4692158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061032"/>
      </p:ext>
    </p:extLst>
  </p:cSld>
  <p:clrMapOvr>
    <a:masterClrMapping/>
  </p:clrMapOvr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24" y="4800302"/>
            <a:ext cx="7316693" cy="567745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24" y="612804"/>
            <a:ext cx="7316693" cy="4115401"/>
          </a:xfrm>
        </p:spPr>
        <p:txBody>
          <a:bodyPr/>
          <a:lstStyle>
            <a:lvl1pPr marL="0" indent="0">
              <a:buNone/>
              <a:defRPr sz="3028"/>
            </a:lvl1pPr>
            <a:lvl2pPr marL="432417" indent="0">
              <a:buNone/>
              <a:defRPr sz="2649"/>
            </a:lvl2pPr>
            <a:lvl3pPr marL="864833" indent="0">
              <a:buNone/>
              <a:defRPr sz="2271"/>
            </a:lvl3pPr>
            <a:lvl4pPr marL="1297249" indent="0">
              <a:buNone/>
              <a:defRPr sz="1892"/>
            </a:lvl4pPr>
            <a:lvl5pPr marL="1729665" indent="0">
              <a:buNone/>
              <a:defRPr sz="1892"/>
            </a:lvl5pPr>
            <a:lvl6pPr marL="2162081" indent="0">
              <a:buNone/>
              <a:defRPr sz="1892"/>
            </a:lvl6pPr>
            <a:lvl7pPr marL="2594498" indent="0">
              <a:buNone/>
              <a:defRPr sz="1892"/>
            </a:lvl7pPr>
            <a:lvl8pPr marL="3026914" indent="0">
              <a:buNone/>
              <a:defRPr sz="1892"/>
            </a:lvl8pPr>
            <a:lvl9pPr marL="3459330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24" y="5368047"/>
            <a:ext cx="7316693" cy="803555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542375"/>
      </p:ext>
    </p:extLst>
  </p:cSld>
  <p:clrMapOvr>
    <a:masterClrMapping/>
  </p:clrMapOvr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831346"/>
      </p:ext>
    </p:extLst>
  </p:cSld>
  <p:clrMapOvr>
    <a:masterClrMapping/>
  </p:clrMapOvr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06166" y="294389"/>
            <a:ext cx="2708297" cy="592828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541" y="294389"/>
            <a:ext cx="7949437" cy="592828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599840"/>
      </p:ext>
    </p:extLst>
  </p:cSld>
  <p:clrMapOvr>
    <a:masterClrMapping/>
  </p:clrMapOvr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87" y="2129797"/>
            <a:ext cx="10362827" cy="14704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174" y="3885600"/>
            <a:ext cx="8533653" cy="1752800"/>
          </a:xfrm>
          <a:prstGeom prst="rect">
            <a:avLst/>
          </a:prstGeom>
        </p:spPr>
        <p:txBody>
          <a:bodyPr lIns="91410" tIns="45706" rIns="91410" bIns="45706"/>
          <a:lstStyle>
            <a:lvl1pPr marL="0" indent="0" algn="ctr">
              <a:buNone/>
              <a:defRPr/>
            </a:lvl1pPr>
            <a:lvl2pPr marL="432417" indent="0" algn="ctr">
              <a:buNone/>
              <a:defRPr/>
            </a:lvl2pPr>
            <a:lvl3pPr marL="864833" indent="0" algn="ctr">
              <a:buNone/>
              <a:defRPr/>
            </a:lvl3pPr>
            <a:lvl4pPr marL="1297249" indent="0" algn="ctr">
              <a:buNone/>
              <a:defRPr/>
            </a:lvl4pPr>
            <a:lvl5pPr marL="1729665" indent="0" algn="ctr">
              <a:buNone/>
              <a:defRPr/>
            </a:lvl5pPr>
            <a:lvl6pPr marL="2162081" indent="0" algn="ctr">
              <a:buNone/>
              <a:defRPr/>
            </a:lvl6pPr>
            <a:lvl7pPr marL="2594498" indent="0" algn="ctr">
              <a:buNone/>
              <a:defRPr/>
            </a:lvl7pPr>
            <a:lvl8pPr marL="3026914" indent="0" algn="ctr">
              <a:buNone/>
              <a:defRPr/>
            </a:lvl8pPr>
            <a:lvl9pPr marL="345933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012046"/>
      </p:ext>
    </p:extLst>
  </p:cSld>
  <p:clrMapOvr>
    <a:masterClrMapping/>
  </p:clrMapOvr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350" y="1599602"/>
            <a:ext cx="10971307" cy="4526941"/>
          </a:xfrm>
          <a:prstGeom prst="rect">
            <a:avLst/>
          </a:prstGeom>
        </p:spPr>
        <p:txBody>
          <a:bodyPr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610134"/>
      </p:ext>
    </p:extLst>
  </p:cSld>
  <p:clrMapOvr>
    <a:masterClrMapping/>
  </p:clrMapOvr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116" y="4406786"/>
            <a:ext cx="10362827" cy="1362288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116" y="2906314"/>
            <a:ext cx="10362827" cy="1500469"/>
          </a:xfrm>
          <a:prstGeom prst="rect">
            <a:avLst/>
          </a:prstGeom>
        </p:spPr>
        <p:txBody>
          <a:bodyPr lIns="91410" tIns="45706" rIns="91410" bIns="45706" anchor="b"/>
          <a:lstStyle>
            <a:lvl1pPr marL="0" indent="0">
              <a:buNone/>
              <a:defRPr sz="1892"/>
            </a:lvl1pPr>
            <a:lvl2pPr marL="432417" indent="0">
              <a:buNone/>
              <a:defRPr sz="1703"/>
            </a:lvl2pPr>
            <a:lvl3pPr marL="864833" indent="0">
              <a:buNone/>
              <a:defRPr sz="1608"/>
            </a:lvl3pPr>
            <a:lvl4pPr marL="1297249" indent="0">
              <a:buNone/>
              <a:defRPr sz="1325"/>
            </a:lvl4pPr>
            <a:lvl5pPr marL="1729665" indent="0">
              <a:buNone/>
              <a:defRPr sz="1325"/>
            </a:lvl5pPr>
            <a:lvl6pPr marL="2162081" indent="0">
              <a:buNone/>
              <a:defRPr sz="1325"/>
            </a:lvl6pPr>
            <a:lvl7pPr marL="2594498" indent="0">
              <a:buNone/>
              <a:defRPr sz="1325"/>
            </a:lvl7pPr>
            <a:lvl8pPr marL="3026914" indent="0">
              <a:buNone/>
              <a:defRPr sz="1325"/>
            </a:lvl8pPr>
            <a:lvl9pPr marL="3459330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267912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208901"/>
      </p:ext>
    </p:extLst>
  </p:cSld>
  <p:clrMapOvr>
    <a:masterClrMapping/>
  </p:clrMapOvr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352" y="1599602"/>
            <a:ext cx="5396059" cy="4526941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5595" y="1599602"/>
            <a:ext cx="5396062" cy="4526941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332051"/>
      </p:ext>
    </p:extLst>
  </p:cSld>
  <p:clrMapOvr>
    <a:masterClrMapping/>
  </p:clrMapOvr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50" y="274861"/>
            <a:ext cx="109713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348" y="1535017"/>
            <a:ext cx="5386730" cy="639840"/>
          </a:xfrm>
          <a:prstGeom prst="rect">
            <a:avLst/>
          </a:prstGeom>
        </p:spPr>
        <p:txBody>
          <a:bodyPr lIns="91410" tIns="45706" rIns="91410" bIns="45706"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348" y="2174857"/>
            <a:ext cx="5386730" cy="3951686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061" y="1535017"/>
            <a:ext cx="5388596" cy="639840"/>
          </a:xfrm>
          <a:prstGeom prst="rect">
            <a:avLst/>
          </a:prstGeom>
        </p:spPr>
        <p:txBody>
          <a:bodyPr lIns="91410" tIns="45706" rIns="91410" bIns="45706"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061" y="2174857"/>
            <a:ext cx="5388596" cy="3951686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865870"/>
      </p:ext>
    </p:extLst>
  </p:cSld>
  <p:clrMapOvr>
    <a:masterClrMapping/>
  </p:clrMapOvr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212488"/>
      </p:ext>
    </p:extLst>
  </p:cSld>
  <p:clrMapOvr>
    <a:masterClrMapping/>
  </p:clrMapOvr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321940"/>
      </p:ext>
    </p:extLst>
  </p:cSld>
  <p:clrMapOvr>
    <a:masterClrMapping/>
  </p:clrMapOvr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48" y="273359"/>
            <a:ext cx="4011115" cy="1161024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053" y="273359"/>
            <a:ext cx="6814604" cy="5853182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348" y="1434383"/>
            <a:ext cx="4011115" cy="4692158"/>
          </a:xfrm>
          <a:prstGeom prst="rect">
            <a:avLst/>
          </a:prstGeom>
        </p:spPr>
        <p:txBody>
          <a:bodyPr lIns="91410" tIns="45706" rIns="91410" bIns="45706"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854422"/>
      </p:ext>
    </p:extLst>
  </p:cSld>
  <p:clrMapOvr>
    <a:masterClrMapping/>
  </p:clrMapOvr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24" y="4800302"/>
            <a:ext cx="7316693" cy="567745"/>
          </a:xfrm>
        </p:spPr>
        <p:txBody>
          <a:bodyPr anchor="b"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24" y="612804"/>
            <a:ext cx="7316693" cy="4115401"/>
          </a:xfrm>
          <a:prstGeom prst="rect">
            <a:avLst/>
          </a:prstGeom>
        </p:spPr>
        <p:txBody>
          <a:bodyPr lIns="91410" tIns="45706" rIns="91410" bIns="45706"/>
          <a:lstStyle>
            <a:lvl1pPr marL="0" indent="0">
              <a:buNone/>
              <a:defRPr sz="3028"/>
            </a:lvl1pPr>
            <a:lvl2pPr marL="432417" indent="0">
              <a:buNone/>
              <a:defRPr sz="2649"/>
            </a:lvl2pPr>
            <a:lvl3pPr marL="864833" indent="0">
              <a:buNone/>
              <a:defRPr sz="2271"/>
            </a:lvl3pPr>
            <a:lvl4pPr marL="1297249" indent="0">
              <a:buNone/>
              <a:defRPr sz="1892"/>
            </a:lvl4pPr>
            <a:lvl5pPr marL="1729665" indent="0">
              <a:buNone/>
              <a:defRPr sz="1892"/>
            </a:lvl5pPr>
            <a:lvl6pPr marL="2162081" indent="0">
              <a:buNone/>
              <a:defRPr sz="1892"/>
            </a:lvl6pPr>
            <a:lvl7pPr marL="2594498" indent="0">
              <a:buNone/>
              <a:defRPr sz="1892"/>
            </a:lvl7pPr>
            <a:lvl8pPr marL="3026914" indent="0">
              <a:buNone/>
              <a:defRPr sz="1892"/>
            </a:lvl8pPr>
            <a:lvl9pPr marL="3459330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24" y="5368047"/>
            <a:ext cx="7316693" cy="803555"/>
          </a:xfrm>
          <a:prstGeom prst="rect">
            <a:avLst/>
          </a:prstGeom>
        </p:spPr>
        <p:txBody>
          <a:bodyPr lIns="91410" tIns="45706" rIns="91410" bIns="45706"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290752"/>
      </p:ext>
    </p:extLst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350" y="1599602"/>
            <a:ext cx="10971307" cy="4526941"/>
          </a:xfrm>
          <a:prstGeom prst="rect">
            <a:avLst/>
          </a:prstGeom>
        </p:spPr>
        <p:txBody>
          <a:bodyPr vert="eaVert"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844167"/>
      </p:ext>
    </p:extLst>
  </p:cSld>
  <p:clrMapOvr>
    <a:masterClrMapping/>
  </p:clrMapOvr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4421" y="294389"/>
            <a:ext cx="2766157" cy="583215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348" y="294389"/>
            <a:ext cx="8124889" cy="5832154"/>
          </a:xfrm>
          <a:prstGeom prst="rect">
            <a:avLst/>
          </a:prstGeom>
        </p:spPr>
        <p:txBody>
          <a:bodyPr vert="eaVert"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583403"/>
      </p:ext>
    </p:extLst>
  </p:cSld>
  <p:clrMapOvr>
    <a:masterClrMapping/>
  </p:clrMapOvr>
  <p:hf sldNum="0"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87" y="2129797"/>
            <a:ext cx="10362827" cy="14704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174" y="3885600"/>
            <a:ext cx="8533653" cy="1752800"/>
          </a:xfrm>
        </p:spPr>
        <p:txBody>
          <a:bodyPr/>
          <a:lstStyle>
            <a:lvl1pPr marL="0" indent="0" algn="ctr">
              <a:buNone/>
              <a:defRPr/>
            </a:lvl1pPr>
            <a:lvl2pPr marL="432417" indent="0" algn="ctr">
              <a:buNone/>
              <a:defRPr/>
            </a:lvl2pPr>
            <a:lvl3pPr marL="864833" indent="0" algn="ctr">
              <a:buNone/>
              <a:defRPr/>
            </a:lvl3pPr>
            <a:lvl4pPr marL="1297249" indent="0" algn="ctr">
              <a:buNone/>
              <a:defRPr/>
            </a:lvl4pPr>
            <a:lvl5pPr marL="1729665" indent="0" algn="ctr">
              <a:buNone/>
              <a:defRPr/>
            </a:lvl5pPr>
            <a:lvl6pPr marL="2162081" indent="0" algn="ctr">
              <a:buNone/>
              <a:defRPr/>
            </a:lvl6pPr>
            <a:lvl7pPr marL="2594498" indent="0" algn="ctr">
              <a:buNone/>
              <a:defRPr/>
            </a:lvl7pPr>
            <a:lvl8pPr marL="3026914" indent="0" algn="ctr">
              <a:buNone/>
              <a:defRPr/>
            </a:lvl8pPr>
            <a:lvl9pPr marL="345933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526360"/>
      </p:ext>
    </p:extLst>
  </p:cSld>
  <p:clrMapOvr>
    <a:masterClrMapping/>
  </p:clrMapOvr>
  <p:hf sldNum="0"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582561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503238"/>
            <a:ext cx="10972800" cy="715962"/>
          </a:xfrm>
          <a:prstGeom prst="rect">
            <a:avLst/>
          </a:prstGeom>
        </p:spPr>
        <p:txBody>
          <a:bodyPr lIns="100617" tIns="50308" rIns="100617" bIns="50308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457294" y="6677764"/>
            <a:ext cx="3859929" cy="476125"/>
          </a:xfrm>
        </p:spPr>
        <p:txBody>
          <a:bodyPr lIns="100617" tIns="50308" rIns="100617" bIns="50308"/>
          <a:lstStyle>
            <a:lvl1pPr algn="ctr" eaLnBrk="0" hangingPunct="0"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-2336862" y="6638712"/>
            <a:ext cx="2844551" cy="476125"/>
          </a:xfrm>
          <a:prstGeom prst="rect">
            <a:avLst/>
          </a:prstGeom>
        </p:spPr>
        <p:txBody>
          <a:bodyPr lIns="100617" tIns="50308" rIns="100617" bIns="50308"/>
          <a:lstStyle>
            <a:lvl1pPr algn="ctr" eaLnBrk="0" hangingPunct="0">
              <a:defRPr>
                <a:latin typeface="Arial" charset="0"/>
                <a:cs typeface="Arial" charset="0"/>
              </a:defRPr>
            </a:lvl1pPr>
          </a:lstStyle>
          <a:p>
            <a:fld id="{884C567E-97E0-4F71-80EC-5A31863FF1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716634"/>
      </p:ext>
    </p:extLst>
  </p:cSld>
  <p:clrMapOvr>
    <a:masterClrMapping/>
  </p:clrMapOvr>
  <p:hf sldNum="0"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116" y="4406786"/>
            <a:ext cx="10362827" cy="1362288"/>
          </a:xfrm>
        </p:spPr>
        <p:txBody>
          <a:bodyPr anchor="t"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116" y="2906314"/>
            <a:ext cx="10362827" cy="1500469"/>
          </a:xfrm>
        </p:spPr>
        <p:txBody>
          <a:bodyPr anchor="b"/>
          <a:lstStyle>
            <a:lvl1pPr marL="0" indent="0">
              <a:buNone/>
              <a:defRPr sz="1892"/>
            </a:lvl1pPr>
            <a:lvl2pPr marL="432417" indent="0">
              <a:buNone/>
              <a:defRPr sz="1703"/>
            </a:lvl2pPr>
            <a:lvl3pPr marL="864833" indent="0">
              <a:buNone/>
              <a:defRPr sz="1608"/>
            </a:lvl3pPr>
            <a:lvl4pPr marL="1297249" indent="0">
              <a:buNone/>
              <a:defRPr sz="1325"/>
            </a:lvl4pPr>
            <a:lvl5pPr marL="1729665" indent="0">
              <a:buNone/>
              <a:defRPr sz="1325"/>
            </a:lvl5pPr>
            <a:lvl6pPr marL="2162081" indent="0">
              <a:buNone/>
              <a:defRPr sz="1325"/>
            </a:lvl6pPr>
            <a:lvl7pPr marL="2594498" indent="0">
              <a:buNone/>
              <a:defRPr sz="1325"/>
            </a:lvl7pPr>
            <a:lvl8pPr marL="3026914" indent="0">
              <a:buNone/>
              <a:defRPr sz="1325"/>
            </a:lvl8pPr>
            <a:lvl9pPr marL="3459330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267630"/>
      </p:ext>
    </p:extLst>
  </p:cSld>
  <p:clrMapOvr>
    <a:masterClrMapping/>
  </p:clrMapOvr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541" y="1249642"/>
            <a:ext cx="5328867" cy="4973027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5595" y="1249642"/>
            <a:ext cx="5328868" cy="4973027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3336"/>
      </p:ext>
    </p:extLst>
  </p:cSld>
  <p:clrMapOvr>
    <a:masterClrMapping/>
  </p:clrMapOvr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50" y="274861"/>
            <a:ext cx="109713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348" y="1535017"/>
            <a:ext cx="5386730" cy="639840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348" y="2174857"/>
            <a:ext cx="5386730" cy="3951686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061" y="1535017"/>
            <a:ext cx="5388596" cy="639840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061" y="2174857"/>
            <a:ext cx="5388596" cy="3951686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708794"/>
      </p:ext>
    </p:extLst>
  </p:cSld>
  <p:clrMapOvr>
    <a:masterClrMapping/>
  </p:clrMapOvr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195927"/>
      </p:ext>
    </p:extLst>
  </p:cSld>
  <p:clrMapOvr>
    <a:masterClrMapping/>
  </p:clrMapOvr>
  <p:hf sldNum="0"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947536"/>
      </p:ext>
    </p:extLst>
  </p:cSld>
  <p:clrMapOvr>
    <a:masterClrMapping/>
  </p:clrMapOvr>
  <p:hf sldNum="0"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48" y="273359"/>
            <a:ext cx="4011115" cy="1161024"/>
          </a:xfrm>
        </p:spPr>
        <p:txBody>
          <a:bodyPr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053" y="273359"/>
            <a:ext cx="6814604" cy="5853182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348" y="1434383"/>
            <a:ext cx="4011115" cy="4692158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752340"/>
      </p:ext>
    </p:extLst>
  </p:cSld>
  <p:clrMapOvr>
    <a:masterClrMapping/>
  </p:clrMapOvr>
  <p:hf sldNum="0"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24" y="4800302"/>
            <a:ext cx="7316693" cy="567745"/>
          </a:xfrm>
        </p:spPr>
        <p:txBody>
          <a:bodyPr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24" y="612804"/>
            <a:ext cx="7316693" cy="4115401"/>
          </a:xfrm>
        </p:spPr>
        <p:txBody>
          <a:bodyPr/>
          <a:lstStyle>
            <a:lvl1pPr marL="0" indent="0">
              <a:buNone/>
              <a:defRPr sz="3028"/>
            </a:lvl1pPr>
            <a:lvl2pPr marL="432417" indent="0">
              <a:buNone/>
              <a:defRPr sz="2649"/>
            </a:lvl2pPr>
            <a:lvl3pPr marL="864833" indent="0">
              <a:buNone/>
              <a:defRPr sz="2271"/>
            </a:lvl3pPr>
            <a:lvl4pPr marL="1297249" indent="0">
              <a:buNone/>
              <a:defRPr sz="1892"/>
            </a:lvl4pPr>
            <a:lvl5pPr marL="1729665" indent="0">
              <a:buNone/>
              <a:defRPr sz="1892"/>
            </a:lvl5pPr>
            <a:lvl6pPr marL="2162081" indent="0">
              <a:buNone/>
              <a:defRPr sz="1892"/>
            </a:lvl6pPr>
            <a:lvl7pPr marL="2594498" indent="0">
              <a:buNone/>
              <a:defRPr sz="1892"/>
            </a:lvl7pPr>
            <a:lvl8pPr marL="3026914" indent="0">
              <a:buNone/>
              <a:defRPr sz="1892"/>
            </a:lvl8pPr>
            <a:lvl9pPr marL="3459330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24" y="5368047"/>
            <a:ext cx="7316693" cy="803555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02921"/>
      </p:ext>
    </p:extLst>
  </p:cSld>
  <p:clrMapOvr>
    <a:masterClrMapping/>
  </p:clrMapOvr>
  <p:hf sldNum="0"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707808"/>
      </p:ext>
    </p:extLst>
  </p:cSld>
  <p:clrMapOvr>
    <a:masterClrMapping/>
  </p:clrMapOvr>
  <p:hf sldNum="0"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31222" y="363477"/>
            <a:ext cx="2749359" cy="585919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543" y="363477"/>
            <a:ext cx="8074494" cy="585919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3217"/>
      </p:ext>
    </p:extLst>
  </p:cSld>
  <p:clrMapOvr>
    <a:masterClrMapping/>
  </p:clrMapOvr>
  <p:hf sldNum="0"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3524" y="2015648"/>
            <a:ext cx="9899934" cy="1390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47047" y="3676825"/>
            <a:ext cx="8152887" cy="1658176"/>
          </a:xfrm>
        </p:spPr>
        <p:txBody>
          <a:bodyPr/>
          <a:lstStyle>
            <a:lvl1pPr marL="0" indent="0" algn="ctr">
              <a:buNone/>
              <a:defRPr/>
            </a:lvl1pPr>
            <a:lvl2pPr marL="432417" indent="0" algn="ctr">
              <a:buNone/>
              <a:defRPr/>
            </a:lvl2pPr>
            <a:lvl3pPr marL="864833" indent="0" algn="ctr">
              <a:buNone/>
              <a:defRPr/>
            </a:lvl3pPr>
            <a:lvl4pPr marL="1297249" indent="0" algn="ctr">
              <a:buNone/>
              <a:defRPr/>
            </a:lvl4pPr>
            <a:lvl5pPr marL="1729665" indent="0" algn="ctr">
              <a:buNone/>
              <a:defRPr/>
            </a:lvl5pPr>
            <a:lvl6pPr marL="2162081" indent="0" algn="ctr">
              <a:buNone/>
              <a:defRPr/>
            </a:lvl6pPr>
            <a:lvl7pPr marL="2594498" indent="0" algn="ctr">
              <a:buNone/>
              <a:defRPr/>
            </a:lvl7pPr>
            <a:lvl8pPr marL="3026914" indent="0" algn="ctr">
              <a:buNone/>
              <a:defRPr/>
            </a:lvl8pPr>
            <a:lvl9pPr marL="345933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919399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708130"/>
      </p:ext>
    </p:extLst>
  </p:cSld>
  <p:clrMapOvr>
    <a:masterClrMapping/>
  </p:clrMapOvr>
  <p:hf sldNum="0"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632929"/>
      </p:ext>
    </p:extLst>
  </p:cSld>
  <p:clrMapOvr>
    <a:masterClrMapping/>
  </p:clrMapOvr>
  <p:hf sldNum="0"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187" y="4169474"/>
            <a:ext cx="9899934" cy="1288691"/>
          </a:xfrm>
        </p:spPr>
        <p:txBody>
          <a:bodyPr/>
          <a:lstStyle>
            <a:lvl1pPr algn="l">
              <a:defRPr sz="3784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0187" y="2750110"/>
            <a:ext cx="9899934" cy="1419362"/>
          </a:xfrm>
        </p:spPr>
        <p:txBody>
          <a:bodyPr anchor="b"/>
          <a:lstStyle>
            <a:lvl1pPr marL="0" indent="0">
              <a:buNone/>
              <a:defRPr sz="1892"/>
            </a:lvl1pPr>
            <a:lvl2pPr marL="432417" indent="0">
              <a:buNone/>
              <a:defRPr sz="1703"/>
            </a:lvl2pPr>
            <a:lvl3pPr marL="864833" indent="0">
              <a:buNone/>
              <a:defRPr sz="1608"/>
            </a:lvl3pPr>
            <a:lvl4pPr marL="1297249" indent="0">
              <a:buNone/>
              <a:defRPr sz="1325"/>
            </a:lvl4pPr>
            <a:lvl5pPr marL="1729665" indent="0">
              <a:buNone/>
              <a:defRPr sz="1325"/>
            </a:lvl5pPr>
            <a:lvl6pPr marL="2162081" indent="0">
              <a:buNone/>
              <a:defRPr sz="1325"/>
            </a:lvl6pPr>
            <a:lvl7pPr marL="2594498" indent="0">
              <a:buNone/>
              <a:defRPr sz="1325"/>
            </a:lvl7pPr>
            <a:lvl8pPr marL="3026914" indent="0">
              <a:buNone/>
              <a:defRPr sz="1325"/>
            </a:lvl8pPr>
            <a:lvl9pPr marL="3459330" indent="0">
              <a:buNone/>
              <a:defRPr sz="132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042571"/>
      </p:ext>
    </p:extLst>
  </p:cSld>
  <p:clrMapOvr>
    <a:masterClrMapping/>
  </p:clrMapOvr>
  <p:hf sldNum="0"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3154" y="1632645"/>
            <a:ext cx="5060091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2429" y="1632645"/>
            <a:ext cx="5061957" cy="961261"/>
          </a:xfrm>
        </p:spPr>
        <p:txBody>
          <a:bodyPr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849509"/>
      </p:ext>
    </p:extLst>
  </p:cSld>
  <p:clrMapOvr>
    <a:masterClrMapping/>
  </p:clrMapOvr>
  <p:hf sldNum="0"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349" y="259843"/>
            <a:ext cx="10482283" cy="108141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2352" y="1452406"/>
            <a:ext cx="5145950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352" y="2057702"/>
            <a:ext cx="5145950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16816" y="1452406"/>
            <a:ext cx="5147816" cy="605294"/>
          </a:xfrm>
        </p:spPr>
        <p:txBody>
          <a:bodyPr anchor="b"/>
          <a:lstStyle>
            <a:lvl1pPr marL="0" indent="0">
              <a:buNone/>
              <a:defRPr sz="2271" b="1"/>
            </a:lvl1pPr>
            <a:lvl2pPr marL="432417" indent="0">
              <a:buNone/>
              <a:defRPr sz="1892" b="1"/>
            </a:lvl2pPr>
            <a:lvl3pPr marL="864833" indent="0">
              <a:buNone/>
              <a:defRPr sz="1703" b="1"/>
            </a:lvl3pPr>
            <a:lvl4pPr marL="1297249" indent="0">
              <a:buNone/>
              <a:defRPr sz="1608" b="1"/>
            </a:lvl4pPr>
            <a:lvl5pPr marL="1729665" indent="0">
              <a:buNone/>
              <a:defRPr sz="1608" b="1"/>
            </a:lvl5pPr>
            <a:lvl6pPr marL="2162081" indent="0">
              <a:buNone/>
              <a:defRPr sz="1608" b="1"/>
            </a:lvl6pPr>
            <a:lvl7pPr marL="2594498" indent="0">
              <a:buNone/>
              <a:defRPr sz="1608" b="1"/>
            </a:lvl7pPr>
            <a:lvl8pPr marL="3026914" indent="0">
              <a:buNone/>
              <a:defRPr sz="1608" b="1"/>
            </a:lvl8pPr>
            <a:lvl9pPr marL="3459330" indent="0">
              <a:buNone/>
              <a:defRPr sz="160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16816" y="2057702"/>
            <a:ext cx="5147816" cy="3738407"/>
          </a:xfrm>
        </p:spPr>
        <p:txBody>
          <a:bodyPr/>
          <a:lstStyle>
            <a:lvl1pPr>
              <a:defRPr sz="2271"/>
            </a:lvl1pPr>
            <a:lvl2pPr>
              <a:defRPr sz="1892"/>
            </a:lvl2pPr>
            <a:lvl3pPr>
              <a:defRPr sz="1703"/>
            </a:lvl3pPr>
            <a:lvl4pPr>
              <a:defRPr sz="1608"/>
            </a:lvl4pPr>
            <a:lvl5pPr>
              <a:defRPr sz="1608"/>
            </a:lvl5pPr>
            <a:lvl6pPr>
              <a:defRPr sz="1608"/>
            </a:lvl6pPr>
            <a:lvl7pPr>
              <a:defRPr sz="1608"/>
            </a:lvl7pPr>
            <a:lvl8pPr>
              <a:defRPr sz="1608"/>
            </a:lvl8pPr>
            <a:lvl9pPr>
              <a:defRPr sz="160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399024"/>
      </p:ext>
    </p:extLst>
  </p:cSld>
  <p:clrMapOvr>
    <a:masterClrMapping/>
  </p:clrMapOvr>
  <p:hf sldNum="0"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39526"/>
      </p:ext>
    </p:extLst>
  </p:cSld>
  <p:clrMapOvr>
    <a:masterClrMapping/>
  </p:clrMapOvr>
  <p:hf sldNum="0"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160861"/>
      </p:ext>
    </p:extLst>
  </p:cSld>
  <p:clrMapOvr>
    <a:masterClrMapping/>
  </p:clrMapOvr>
  <p:hf sldNum="0"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351" y="258341"/>
            <a:ext cx="3831932" cy="1099443"/>
          </a:xfrm>
        </p:spPr>
        <p:txBody>
          <a:bodyPr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4268" y="258339"/>
            <a:ext cx="6510364" cy="5537768"/>
          </a:xfrm>
        </p:spPr>
        <p:txBody>
          <a:bodyPr/>
          <a:lstStyle>
            <a:lvl1pPr>
              <a:defRPr sz="3028"/>
            </a:lvl1pPr>
            <a:lvl2pPr>
              <a:defRPr sz="2649"/>
            </a:lvl2pPr>
            <a:lvl3pPr>
              <a:defRPr sz="2271"/>
            </a:lvl3pPr>
            <a:lvl4pPr>
              <a:defRPr sz="1892"/>
            </a:lvl4pPr>
            <a:lvl5pPr>
              <a:defRPr sz="1892"/>
            </a:lvl5pPr>
            <a:lvl6pPr>
              <a:defRPr sz="1892"/>
            </a:lvl6pPr>
            <a:lvl7pPr>
              <a:defRPr sz="1892"/>
            </a:lvl7pPr>
            <a:lvl8pPr>
              <a:defRPr sz="1892"/>
            </a:lvl8pPr>
            <a:lvl9pPr>
              <a:defRPr sz="189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351" y="1357784"/>
            <a:ext cx="3831932" cy="4438325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572839"/>
      </p:ext>
    </p:extLst>
  </p:cSld>
  <p:clrMapOvr>
    <a:masterClrMapping/>
  </p:clrMapOvr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2737" y="4541961"/>
            <a:ext cx="6988187" cy="536204"/>
          </a:xfrm>
        </p:spPr>
        <p:txBody>
          <a:bodyPr/>
          <a:lstStyle>
            <a:lvl1pPr algn="l">
              <a:defRPr sz="1892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2737" y="579763"/>
            <a:ext cx="6988187" cy="3893109"/>
          </a:xfrm>
        </p:spPr>
        <p:txBody>
          <a:bodyPr tIns="0"/>
          <a:lstStyle>
            <a:lvl1pPr marL="0" indent="0">
              <a:buNone/>
              <a:defRPr sz="3028"/>
            </a:lvl1pPr>
            <a:lvl2pPr marL="432417" indent="0">
              <a:buNone/>
              <a:defRPr sz="2649"/>
            </a:lvl2pPr>
            <a:lvl3pPr marL="864833" indent="0">
              <a:buNone/>
              <a:defRPr sz="2271"/>
            </a:lvl3pPr>
            <a:lvl4pPr marL="1297249" indent="0">
              <a:buNone/>
              <a:defRPr sz="1892"/>
            </a:lvl4pPr>
            <a:lvl5pPr marL="1729665" indent="0">
              <a:buNone/>
              <a:defRPr sz="1892"/>
            </a:lvl5pPr>
            <a:lvl6pPr marL="2162081" indent="0">
              <a:buNone/>
              <a:defRPr sz="1892"/>
            </a:lvl6pPr>
            <a:lvl7pPr marL="2594498" indent="0">
              <a:buNone/>
              <a:defRPr sz="1892"/>
            </a:lvl7pPr>
            <a:lvl8pPr marL="3026914" indent="0">
              <a:buNone/>
              <a:defRPr sz="1892"/>
            </a:lvl8pPr>
            <a:lvl9pPr marL="3459330" indent="0">
              <a:buNone/>
              <a:defRPr sz="1892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2737" y="5078167"/>
            <a:ext cx="6988187" cy="761499"/>
          </a:xfrm>
        </p:spPr>
        <p:txBody>
          <a:bodyPr/>
          <a:lstStyle>
            <a:lvl1pPr marL="0" indent="0">
              <a:buNone/>
              <a:defRPr sz="1325"/>
            </a:lvl1pPr>
            <a:lvl2pPr marL="432417" indent="0">
              <a:buNone/>
              <a:defRPr sz="1135"/>
            </a:lvl2pPr>
            <a:lvl3pPr marL="864833" indent="0">
              <a:buNone/>
              <a:defRPr sz="946"/>
            </a:lvl3pPr>
            <a:lvl4pPr marL="1297249" indent="0">
              <a:buNone/>
              <a:defRPr sz="851"/>
            </a:lvl4pPr>
            <a:lvl5pPr marL="1729665" indent="0">
              <a:buNone/>
              <a:defRPr sz="851"/>
            </a:lvl5pPr>
            <a:lvl6pPr marL="2162081" indent="0">
              <a:buNone/>
              <a:defRPr sz="851"/>
            </a:lvl6pPr>
            <a:lvl7pPr marL="2594498" indent="0">
              <a:buNone/>
              <a:defRPr sz="851"/>
            </a:lvl7pPr>
            <a:lvl8pPr marL="3026914" indent="0">
              <a:buNone/>
              <a:defRPr sz="851"/>
            </a:lvl8pPr>
            <a:lvl9pPr marL="3459330" indent="0">
              <a:buNone/>
              <a:defRPr sz="85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372044"/>
      </p:ext>
    </p:extLst>
  </p:cSld>
  <p:clrMapOvr>
    <a:masterClrMapping/>
  </p:clrMapOvr>
  <p:hf sldNum="0"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062460"/>
      </p:ext>
    </p:extLst>
  </p:cSld>
  <p:clrMapOvr>
    <a:masterClrMapping/>
  </p:clrMapOvr>
  <p:hf sldNum="0"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74211" y="608299"/>
            <a:ext cx="2575775" cy="19856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1289" y="608299"/>
            <a:ext cx="7553740" cy="19856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377219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6C9F9E-2467-41DE-B6E7-B68075E99BBD}" type="datetimeFigureOut">
              <a:rPr lang="en-US"/>
              <a:pPr>
                <a:defRPr/>
              </a:pPr>
              <a:t>5/1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673252-FA1F-409C-925C-3CC012D897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6895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77541" y="363477"/>
            <a:ext cx="11003037" cy="585919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 eaLnBrk="1" hangingPunct="1">
              <a:spcBef>
                <a:spcPct val="0"/>
              </a:spcBef>
              <a:defRPr b="1" i="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786477"/>
      </p:ext>
    </p:extLst>
  </p:cSld>
  <p:clrMapOvr>
    <a:masterClrMapping/>
  </p:clrMapOvr>
  <p:hf sldNum="0"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pPr eaLnBrk="1" hangingPunct="1"/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086" tIns="47044" rIns="94086" bIns="47044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086" tIns="47044" rIns="94086" bIns="47044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31" tIns="45665" rIns="91331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8"/>
            <a:ext cx="8533653" cy="477627"/>
          </a:xfrm>
          <a:prstGeom prst="rect">
            <a:avLst/>
          </a:prstGeom>
        </p:spPr>
        <p:txBody>
          <a:bodyPr lIns="91331" tIns="0" rIns="91331" bIns="45665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272216"/>
      </p:ext>
    </p:extLst>
  </p:cSld>
  <p:clrMapOvr>
    <a:masterClrMapping/>
  </p:clrMapOvr>
  <p:hf sldNum="0"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706741"/>
      </p:ext>
    </p:extLst>
  </p:cSld>
  <p:clrMapOvr>
    <a:masterClrMapping/>
  </p:clrMapOvr>
  <p:hf sldNum="0"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7351429"/>
      </p:ext>
    </p:extLst>
  </p:cSld>
  <p:clrMapOvr>
    <a:masterClrMapping/>
  </p:clrMapOvr>
  <p:hf sldNum="0"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734577"/>
      </p:ext>
    </p:extLst>
  </p:cSld>
  <p:clrMapOvr>
    <a:masterClrMapping/>
  </p:clrMapOvr>
  <p:hf sldNum="0"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6" y="294391"/>
            <a:ext cx="10836919" cy="681895"/>
          </a:xfrm>
          <a:prstGeom prst="rect">
            <a:avLst/>
          </a:prstGeom>
        </p:spPr>
        <p:txBody>
          <a:bodyPr lIns="91381" tIns="45691" rIns="91381" bIns="45691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381" tIns="45691" rIns="91381" bIns="45691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381" tIns="45691" rIns="91381" bIns="45691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811396"/>
      </p:ext>
    </p:extLst>
  </p:cSld>
  <p:clrMapOvr>
    <a:masterClrMapping/>
  </p:clrMapOvr>
  <p:hf sldNum="0"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pPr eaLnBrk="1" hangingPunct="1"/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01" tIns="47052" rIns="94101" bIns="47052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01" tIns="47052" rIns="94101" bIns="47052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45" tIns="45673" rIns="91345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7"/>
            <a:ext cx="8533653" cy="477627"/>
          </a:xfrm>
          <a:prstGeom prst="rect">
            <a:avLst/>
          </a:prstGeom>
        </p:spPr>
        <p:txBody>
          <a:bodyPr lIns="91345" tIns="0" rIns="91345" bIns="45673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31356"/>
      </p:ext>
    </p:extLst>
  </p:cSld>
  <p:clrMapOvr>
    <a:masterClrMapping/>
  </p:clrMapOvr>
  <p:hf sldNum="0"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001339"/>
      </p:ext>
    </p:extLst>
  </p:cSld>
  <p:clrMapOvr>
    <a:masterClrMapping/>
  </p:clrMapOvr>
  <p:hf sldNum="0"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045223"/>
      </p:ext>
    </p:extLst>
  </p:cSld>
  <p:clrMapOvr>
    <a:masterClrMapping/>
  </p:clrMapOvr>
  <p:hf sldNum="0"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320370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2" y="294387"/>
            <a:ext cx="10836919" cy="68189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542" y="1180761"/>
            <a:ext cx="10836919" cy="49730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598176"/>
      </p:ext>
    </p:extLst>
  </p:cSld>
  <p:clrMapOvr>
    <a:masterClrMapping/>
  </p:clrMapOvr>
  <p:hf sldNum="0"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5" y="294390"/>
            <a:ext cx="10836919" cy="681895"/>
          </a:xfrm>
          <a:prstGeom prst="rect">
            <a:avLst/>
          </a:prstGeom>
        </p:spPr>
        <p:txBody>
          <a:bodyPr lIns="91396" tIns="45698" rIns="91396" bIns="45698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396" tIns="45698" rIns="91396" bIns="45698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396" tIns="45698" rIns="91396" bIns="45698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defTabSz="865114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5844957"/>
      </p:ext>
    </p:extLst>
  </p:cSld>
  <p:clrMapOvr>
    <a:masterClrMapping/>
  </p:clrMapOvr>
  <p:hf sldNum="0"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5"/>
          <p:cNvSpPr>
            <a:spLocks noChangeArrowheads="1"/>
          </p:cNvSpPr>
          <p:nvPr userDrawn="1"/>
        </p:nvSpPr>
        <p:spPr bwMode="auto">
          <a:xfrm>
            <a:off x="0" y="0"/>
            <a:ext cx="12192000" cy="3837537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5791" rIns="0" bIns="0" anchor="ctr"/>
          <a:lstStyle/>
          <a:p>
            <a:pPr algn="ctr" eaLnBrk="0" hangingPunct="0"/>
            <a:endParaRPr lang="en-US" altLang="en-US" sz="1703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574884" y="6487014"/>
            <a:ext cx="1692919" cy="280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accent3">
                    <a:lumMod val="65000"/>
                  </a:schemeClr>
                </a:solidFill>
                <a:latin typeface="Arial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ＭＳ Ｐゴシック"/>
                <a:cs typeface="ＭＳ Ｐゴシック"/>
              </a:defRPr>
            </a:lvl9pPr>
          </a:lstStyle>
          <a:p>
            <a:pPr algn="l">
              <a:defRPr/>
            </a:pPr>
            <a:endParaRPr lang="en-GB" sz="1041" dirty="0">
              <a:solidFill>
                <a:srgbClr val="FFFFFF">
                  <a:lumMod val="65000"/>
                </a:srgbClr>
              </a:solidFill>
            </a:endParaRPr>
          </a:p>
        </p:txBody>
      </p:sp>
      <p:pic>
        <p:nvPicPr>
          <p:cNvPr id="6" name="Picture 45" descr="HSBC Hexagon_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98" tIns="47100" rIns="94198" bIns="47100" anchor="ctr"/>
          <a:lstStyle>
            <a:lvl1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53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98" tIns="47100" rIns="94198" bIns="47100" anchor="ctr"/>
          <a:lstStyle>
            <a:lvl1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503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503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677541" y="4110896"/>
            <a:ext cx="10362827" cy="476124"/>
          </a:xfrm>
        </p:spPr>
        <p:txBody>
          <a:bodyPr bIns="0"/>
          <a:lstStyle>
            <a:lvl1pPr algn="l">
              <a:lnSpc>
                <a:spcPct val="100000"/>
              </a:lnSpc>
              <a:defRPr sz="2649" b="1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2346" y="4722713"/>
            <a:ext cx="8533653" cy="477627"/>
          </a:xfrm>
          <a:prstGeom prst="rect">
            <a:avLst/>
          </a:prstGeom>
        </p:spPr>
        <p:txBody>
          <a:bodyPr tIns="0"/>
          <a:lstStyle>
            <a:lvl1pPr marL="0" indent="0" algn="l">
              <a:buClrTx/>
              <a:buFontTx/>
              <a:buNone/>
              <a:defRPr sz="1892" smtClean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610604"/>
      </p:ext>
    </p:extLst>
  </p:cSld>
  <p:clrMapOvr>
    <a:masterClrMapping/>
  </p:clrMapOvr>
  <p:transition spd="slow" advClick="0"/>
  <p:hf sldNum="0"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542" y="1180761"/>
            <a:ext cx="10836919" cy="49730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190215"/>
      </p:ext>
    </p:extLst>
  </p:cSld>
  <p:clrMapOvr>
    <a:masterClrMapping/>
  </p:clrMapOvr>
  <p:transition spd="slow" advClick="0"/>
  <p:hf sldNum="0"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pPr eaLnBrk="1" hangingPunct="1"/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757992"/>
      </p:ext>
    </p:extLst>
  </p:cSld>
  <p:clrMapOvr>
    <a:masterClrMapping/>
  </p:clrMapOvr>
  <p:hf sldNum="0"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921924"/>
      </p:ext>
    </p:extLst>
  </p:cSld>
  <p:clrMapOvr>
    <a:masterClrMapping/>
  </p:clrMapOvr>
  <p:hf sldNum="0"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75792"/>
      </p:ext>
    </p:extLst>
  </p:cSld>
  <p:clrMapOvr>
    <a:masterClrMapping/>
  </p:clrMapOvr>
  <p:hf sldNum="0"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757122"/>
      </p:ext>
    </p:extLst>
  </p:cSld>
  <p:clrMapOvr>
    <a:masterClrMapping/>
  </p:clrMapOvr>
  <p:hf sldNum="0"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4265250"/>
      </p:ext>
    </p:extLst>
  </p:cSld>
  <p:clrMapOvr>
    <a:masterClrMapping/>
  </p:clrMapOvr>
  <p:hf sldNum="0"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3787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pPr eaLnBrk="1" hangingPunct="1"/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17" tIns="47059" rIns="94117" bIns="47059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17" tIns="47059" rIns="94117" bIns="47059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60" tIns="45680" rIns="91360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6" y="4587026"/>
            <a:ext cx="8533653" cy="477627"/>
          </a:xfrm>
          <a:prstGeom prst="rect">
            <a:avLst/>
          </a:prstGeom>
        </p:spPr>
        <p:txBody>
          <a:bodyPr lIns="91360" tIns="0" rIns="91360" bIns="45680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381376"/>
      </p:ext>
    </p:extLst>
  </p:cSld>
  <p:clrMapOvr>
    <a:masterClrMapping/>
  </p:clrMapOvr>
  <p:hf sldNum="0"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374235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/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473053"/>
      </p:ext>
    </p:extLst>
  </p:cSld>
  <p:clrMapOvr>
    <a:masterClrMapping/>
  </p:clrMapOvr>
  <p:hf sldNum="0"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49523"/>
      </p:ext>
    </p:extLst>
  </p:cSld>
  <p:clrMapOvr>
    <a:masterClrMapping/>
  </p:clrMapOvr>
  <p:hf sldNum="0"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930318"/>
      </p:ext>
    </p:extLst>
  </p:cSld>
  <p:clrMapOvr>
    <a:masterClrMapping/>
  </p:clrMapOvr>
  <p:hf sldNum="0"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58124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88980" y="1611617"/>
            <a:ext cx="3751672" cy="1470429"/>
          </a:xfrm>
          <a:prstGeom prst="rect">
            <a:avLst/>
          </a:prstGeom>
        </p:spPr>
        <p:txBody>
          <a:bodyPr lIns="91410" tIns="45706" rIns="91410" bIns="45706"/>
          <a:lstStyle>
            <a:lvl1pPr>
              <a:defRPr sz="2649"/>
            </a:lvl1pPr>
            <a:lvl2pPr>
              <a:defRPr sz="2271"/>
            </a:lvl2pPr>
            <a:lvl3pPr>
              <a:defRPr sz="1892"/>
            </a:lvl3pPr>
            <a:lvl4pPr>
              <a:defRPr sz="1703"/>
            </a:lvl4pPr>
            <a:lvl5pPr>
              <a:defRPr sz="1703"/>
            </a:lvl5pPr>
            <a:lvl6pPr>
              <a:defRPr sz="1703"/>
            </a:lvl6pPr>
            <a:lvl7pPr>
              <a:defRPr sz="1703"/>
            </a:lvl7pPr>
            <a:lvl8pPr>
              <a:defRPr sz="1703"/>
            </a:lvl8pPr>
            <a:lvl9pPr>
              <a:defRPr sz="170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39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4192202"/>
      </p:ext>
    </p:extLst>
  </p:cSld>
  <p:clrMapOvr>
    <a:masterClrMapping/>
  </p:clrMapOvr>
  <p:hf sldNum="0"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3"/>
          <p:cNvSpPr txBox="1">
            <a:spLocks noChangeArrowheads="1"/>
          </p:cNvSpPr>
          <p:nvPr userDrawn="1"/>
        </p:nvSpPr>
        <p:spPr bwMode="auto">
          <a:xfrm>
            <a:off x="866058" y="6499029"/>
            <a:ext cx="1396216" cy="32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altLang="en-US" sz="1041" dirty="0">
                <a:solidFill>
                  <a:srgbClr val="A5A6A9"/>
                </a:solidFill>
              </a:rPr>
              <a:t>HIGHLY RESTRICTED</a:t>
            </a:r>
          </a:p>
          <a:p>
            <a:endParaRPr lang="en-GB" altLang="en-US" sz="1041" dirty="0">
              <a:solidFill>
                <a:srgbClr val="A5A6A9"/>
              </a:solidFill>
            </a:endParaRPr>
          </a:p>
        </p:txBody>
      </p:sp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527409"/>
      </p:ext>
    </p:extLst>
  </p:cSld>
  <p:clrMapOvr>
    <a:masterClrMapping/>
  </p:clrMapOvr>
  <p:hf sldNum="0"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028356"/>
      </p:ext>
    </p:extLst>
  </p:cSld>
  <p:clrMapOvr>
    <a:masterClrMapping/>
  </p:clrMapOvr>
  <p:hf sldNum="0"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960668"/>
      </p:ext>
    </p:extLst>
  </p:cSld>
  <p:clrMapOvr>
    <a:masterClrMapping/>
  </p:clrMapOvr>
  <p:hf sldNum="0"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645672"/>
      </p:ext>
    </p:extLst>
  </p:cSld>
  <p:clrMapOvr>
    <a:masterClrMapping/>
  </p:clrMapOvr>
  <p:hf sldNum="0"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541" y="363477"/>
            <a:ext cx="11003037" cy="545216"/>
          </a:xfrm>
          <a:prstGeom prst="rect">
            <a:avLst/>
          </a:prstGeom>
        </p:spPr>
        <p:txBody>
          <a:bodyPr lIns="91410" tIns="45706" rIns="91410" bIns="45706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544" y="1249642"/>
            <a:ext cx="10836919" cy="4973027"/>
          </a:xfrm>
          <a:prstGeom prst="rect">
            <a:avLst/>
          </a:prstGeom>
        </p:spPr>
        <p:txBody>
          <a:bodyPr lIns="91410" tIns="45706" rIns="91410" bIns="4570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682014"/>
      </p:ext>
    </p:extLst>
  </p:cSld>
  <p:clrMapOvr>
    <a:masterClrMapping/>
  </p:clrMapOvr>
  <p:hf sldNum="0"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05" b="17868"/>
          <a:stretch>
            <a:fillRect/>
          </a:stretch>
        </p:blipFill>
        <p:spPr bwMode="auto">
          <a:xfrm>
            <a:off x="0" y="1503"/>
            <a:ext cx="12192000" cy="40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2"/>
          <p:cNvSpPr>
            <a:spLocks noChangeArrowheads="1"/>
          </p:cNvSpPr>
          <p:nvPr userDrawn="1"/>
        </p:nvSpPr>
        <p:spPr bwMode="auto">
          <a:xfrm>
            <a:off x="11811234" y="0"/>
            <a:ext cx="169852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153" tIns="47076" rIns="94153" bIns="47076" anchor="ctr"/>
          <a:lstStyle>
            <a:lvl1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93775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937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i="1" dirty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 userDrawn="1"/>
        </p:nvSpPr>
        <p:spPr bwMode="gray">
          <a:xfrm rot="16200000">
            <a:off x="11759596" y="5801183"/>
            <a:ext cx="297390" cy="194116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94153" tIns="47076" rIns="94153" bIns="47076" anchor="ctr"/>
          <a:lstStyle>
            <a:lvl1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33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33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pic>
        <p:nvPicPr>
          <p:cNvPr id="8" name="Picture 45" descr="HSBC Hexagon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3172" y="5760060"/>
            <a:ext cx="2000892" cy="28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4526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847392" y="4110896"/>
            <a:ext cx="10362827" cy="476124"/>
          </a:xfrm>
          <a:prstGeom prst="rect">
            <a:avLst/>
          </a:prstGeom>
        </p:spPr>
        <p:txBody>
          <a:bodyPr lIns="91396" tIns="45698" rIns="91396" bIns="0"/>
          <a:lstStyle>
            <a:lvl1pPr>
              <a:lnSpc>
                <a:spcPct val="100000"/>
              </a:lnSpc>
              <a:defRPr sz="2838" b="1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404527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47393" y="4587023"/>
            <a:ext cx="8533653" cy="477627"/>
          </a:xfrm>
          <a:prstGeom prst="rect">
            <a:avLst/>
          </a:prstGeom>
        </p:spPr>
        <p:txBody>
          <a:bodyPr lIns="91396" tIns="0" rIns="91396" bIns="45698"/>
          <a:lstStyle>
            <a:lvl1pPr marL="0" indent="0">
              <a:buClrTx/>
              <a:buFontTx/>
              <a:buNone/>
              <a:defRPr sz="2649" smtClean="0"/>
            </a:lvl1pPr>
          </a:lstStyle>
          <a:p>
            <a:r>
              <a:rPr lang="en-US" smtClean="0"/>
              <a:t>Click to edit Master subtitle style</a:t>
            </a:r>
            <a:endParaRPr lang="en-GB" smtClean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38703"/>
      </p:ext>
    </p:extLst>
  </p:cSld>
  <p:clrMapOvr>
    <a:masterClrMapping/>
  </p:clrMapOvr>
  <p:hf sldNum="0"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 bwMode="auto">
          <a:xfrm>
            <a:off x="8470192" y="142688"/>
            <a:ext cx="3018137" cy="48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887" tIns="45443" rIns="90887" bIns="45443"/>
          <a:lstStyle>
            <a:lvl1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1004888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1004888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altLang="en-US" sz="2744" b="0" dirty="0">
                <a:solidFill>
                  <a:srgbClr val="000000"/>
                </a:solidFill>
                <a:latin typeface="Calibri" pitchFamily="34" charset="0"/>
              </a:rPr>
              <a:t>Global</a:t>
            </a:r>
            <a:r>
              <a:rPr lang="en-US" altLang="en-US" sz="2744" b="0" dirty="0">
                <a:solidFill>
                  <a:srgbClr val="FF0000"/>
                </a:solidFill>
                <a:latin typeface="Calibri" pitchFamily="34" charset="0"/>
              </a:rPr>
              <a:t> Fin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77090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6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101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theme" Target="../theme/theme16.xml"/><Relationship Id="rId5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11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21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31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41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theme" Target="../theme/theme24.xml"/><Relationship Id="rId5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8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theme" Target="../theme/theme25.xml"/><Relationship Id="rId5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63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theme" Target="../theme/theme26.xml"/><Relationship Id="rId5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8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7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7171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/>
          </a:p>
        </p:txBody>
      </p:sp>
      <p:sp>
        <p:nvSpPr>
          <p:cNvPr id="7172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C1DEAFB7-868A-47F1-AAAB-DE3688BD2CA5}" type="slidenum">
              <a:rPr lang="en-GB" altLang="en-US" sz="1041" b="0"/>
              <a:pPr eaLnBrk="1" hangingPunct="1"/>
              <a:t>‹#›</a:t>
            </a:fld>
            <a:endParaRPr lang="en-GB" altLang="en-US" sz="1041" b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07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859" r:id="rId7"/>
    <p:sldLayoutId id="2147483860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2" y="294387"/>
            <a:ext cx="10836919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126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910" tIns="45457" rIns="90910" bIns="45457" anchor="ctr"/>
          <a:lstStyle>
            <a:lvl1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1268" name="Rectangle 396"/>
          <p:cNvSpPr>
            <a:spLocks noChangeArrowheads="1"/>
          </p:cNvSpPr>
          <p:nvPr/>
        </p:nvSpPr>
        <p:spPr bwMode="auto">
          <a:xfrm>
            <a:off x="5588312" y="6551867"/>
            <a:ext cx="518888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17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17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6DA37ADB-0FD2-4809-83C0-D688D1E84242}" type="slidenum">
              <a:rPr lang="en-GB" altLang="en-US" sz="1041" b="0">
                <a:solidFill>
                  <a:srgbClr val="A6A6A6"/>
                </a:solidFill>
                <a:ea typeface="ＭＳ Ｐゴシック" pitchFamily="34" charset="-128"/>
              </a:rPr>
              <a:pPr algn="ctr"/>
              <a:t>‹#›</a:t>
            </a:fld>
            <a:endParaRPr lang="en-GB" altLang="en-US" sz="1041" b="0" dirty="0">
              <a:solidFill>
                <a:srgbClr val="A6A6A6"/>
              </a:solidFill>
              <a:ea typeface="ＭＳ Ｐゴシック" pitchFamily="34" charset="-128"/>
            </a:endParaRP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737549" y="6487014"/>
            <a:ext cx="1692918" cy="280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41" dirty="0">
                <a:solidFill>
                  <a:srgbClr val="FFFFFF">
                    <a:lumMod val="65000"/>
                  </a:srgbClr>
                </a:solidFill>
                <a:latin typeface="Arial" charset="0"/>
                <a:ea typeface="ＭＳ Ｐゴシック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270" name="TextBox 1"/>
          <p:cNvSpPr txBox="1">
            <a:spLocks noChangeArrowheads="1"/>
          </p:cNvSpPr>
          <p:nvPr/>
        </p:nvSpPr>
        <p:spPr bwMode="auto">
          <a:xfrm>
            <a:off x="10385225" y="6437448"/>
            <a:ext cx="184731" cy="354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en-US" altLang="en-US" sz="1703" dirty="0">
              <a:solidFill>
                <a:srgbClr val="7F7F7F"/>
              </a:solidFill>
              <a:ea typeface="ＭＳ Ｐゴシック" pitchFamily="34" charset="-128"/>
            </a:endParaRPr>
          </a:p>
        </p:txBody>
      </p:sp>
      <p:sp>
        <p:nvSpPr>
          <p:cNvPr id="112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73809" y="1179048"/>
            <a:ext cx="10971307" cy="452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1"/>
            <a:r>
              <a:rPr lang="en-US" alt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15078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</p:sldLayoutIdLst>
  <p:transition spd="slow" advClick="0"/>
  <p:timing>
    <p:tnLst>
      <p:par>
        <p:cTn id="1" dur="indefinite" restart="never" nodeType="tmRoot"/>
      </p:par>
    </p:tnLst>
  </p:timing>
  <p:hf sldNum="0" hdr="0" dt="0"/>
  <p:txStyles>
    <p:titleStyle>
      <a:lvl1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ＭＳ Ｐゴシック" charset="0"/>
          <a:cs typeface="Arial" charset="0"/>
        </a:defRPr>
      </a:lvl1pPr>
      <a:lvl2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2pPr>
      <a:lvl3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3pPr>
      <a:lvl4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4pPr>
      <a:lvl5pPr algn="l" defTabSz="11024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ea typeface="ＭＳ Ｐゴシック" charset="0"/>
          <a:cs typeface="Arial" charset="0"/>
        </a:defRPr>
      </a:lvl5pPr>
      <a:lvl6pPr marL="432557" algn="l" defTabSz="104985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5114" algn="l" defTabSz="104985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671" algn="l" defTabSz="104985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30228" algn="l" defTabSz="104985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71220" indent="-171220" algn="l" defTabSz="853098" rtl="0" eaLnBrk="1" fontAlgn="base" hangingPunct="1">
        <a:spcBef>
          <a:spcPts val="473"/>
        </a:spcBef>
        <a:spcAft>
          <a:spcPts val="568"/>
        </a:spcAft>
        <a:buClr>
          <a:schemeClr val="tx2"/>
        </a:buClr>
        <a:buFont typeface="Symbol" pitchFamily="18" charset="2"/>
        <a:buChar char="·"/>
        <a:defRPr sz="1514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340939" indent="-168217" algn="l" defTabSz="853098" rtl="0" eaLnBrk="1" fontAlgn="base" hangingPunct="1">
        <a:spcBef>
          <a:spcPts val="473"/>
        </a:spcBef>
        <a:spcAft>
          <a:spcPts val="568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ea typeface="Arial" charset="0"/>
          <a:cs typeface="+mn-cs"/>
        </a:defRPr>
      </a:lvl2pPr>
      <a:lvl3pPr marL="510657" indent="-168217" algn="l" defTabSz="85309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ea typeface="Arial" charset="0"/>
          <a:cs typeface="+mn-cs"/>
        </a:defRPr>
      </a:lvl3pPr>
      <a:lvl4pPr marL="680376" indent="-168217" algn="l" defTabSz="85309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ea typeface="Arial" charset="0"/>
          <a:cs typeface="+mn-cs"/>
        </a:defRPr>
      </a:lvl4pPr>
      <a:lvl5pPr marL="1749753" indent="-211773" algn="l" defTabSz="85309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ea typeface="Arial" charset="0"/>
          <a:cs typeface="+mn-cs"/>
        </a:defRPr>
      </a:lvl5pPr>
      <a:lvl6pPr marL="1461382" indent="-201259" algn="l" defTabSz="104985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939" indent="-201259" algn="l" defTabSz="104985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6496" indent="-201259" algn="l" defTabSz="104985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9053" indent="-201259" algn="l" defTabSz="104985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557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5114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671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30228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785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5342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7898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60455" algn="l" defTabSz="865114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2291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2292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42CC8532-F586-4D83-A520-2270F71938E7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993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3315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3316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677B332C-F09E-45E1-B5AE-A543AF9EC78E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30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4339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4340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301C374-7785-4EE0-889A-A351E6ADD963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543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5363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5364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6BC66297-420D-40B5-8810-B4DFF700D60C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797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638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6388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42BCABCE-948B-4A0C-92AB-58E59D2030FF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731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7411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7412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53B75EB-5F45-4BF0-B0D5-031E3C8DA68C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692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8435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8436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0CABF086-F833-4820-849A-B8287258CFFA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793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9459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9460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633C1310-B389-4571-8A4A-DC4B136CB5B8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38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20483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20484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5F59613-5C95-4A9F-93EF-F1FA1A3B7BBA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047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sp>
        <p:nvSpPr>
          <p:cNvPr id="1028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EE5716F9-56B1-413D-8C8A-7804CB930B54}" type="slidenum">
              <a:rPr lang="en-GB" altLang="en-US" sz="1041" b="0"/>
              <a:pPr algn="ctr"/>
              <a:t>‹#›</a:t>
            </a:fld>
            <a:endParaRPr lang="en-GB" altLang="en-US" sz="1041" b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418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2150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21508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1457FAA-C90B-49A1-842E-4394A79371BC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930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22531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22532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AAE9060-8064-4809-A7BF-F874118EE984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038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23555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30" tIns="45418" rIns="90830" bIns="45418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23556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FBC4C1F9-D0D6-47F6-BFC8-E9A1C747B49E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135">
                <a:solidFill>
                  <a:srgbClr val="000000">
                    <a:tint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492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78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352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531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705" algn="l" defTabSz="1048933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098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2276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451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630" indent="-201084" algn="l" defTabSz="104893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78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352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531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70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885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3063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5240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7416" algn="l" defTabSz="86435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2" y="294387"/>
            <a:ext cx="10836919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79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2051" name="Rectangle 85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98" tIns="45451" rIns="90898" bIns="4545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0113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endParaRPr lang="en-US" altLang="en-US" sz="662" b="0" i="1" dirty="0" smtClean="0">
              <a:solidFill>
                <a:srgbClr val="000000"/>
              </a:solidFill>
            </a:endParaRPr>
          </a:p>
        </p:txBody>
      </p:sp>
      <p:sp>
        <p:nvSpPr>
          <p:cNvPr id="2052" name="Text Box 47"/>
          <p:cNvSpPr txBox="1">
            <a:spLocks noChangeArrowheads="1"/>
          </p:cNvSpPr>
          <p:nvPr/>
        </p:nvSpPr>
        <p:spPr bwMode="auto">
          <a:xfrm rot="-5400000">
            <a:off x="11632619" y="765378"/>
            <a:ext cx="915315" cy="1018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defRPr/>
            </a:pPr>
            <a:r>
              <a:rPr lang="en-GB" sz="662" b="0" dirty="0" smtClean="0">
                <a:solidFill>
                  <a:srgbClr val="A5A6A9"/>
                </a:solidFill>
              </a:rPr>
              <a:t>Insert GPS number here</a:t>
            </a:r>
          </a:p>
        </p:txBody>
      </p:sp>
      <p:sp>
        <p:nvSpPr>
          <p:cNvPr id="2053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542" y="1249640"/>
            <a:ext cx="10836919" cy="497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1596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Click to edit Master text styles</a:t>
            </a:r>
          </a:p>
          <a:p>
            <a:pPr lvl="2"/>
            <a:r>
              <a:rPr lang="en-GB" altLang="en-US" smtClean="0"/>
              <a:t>Click to edit Master text styles</a:t>
            </a:r>
          </a:p>
          <a:p>
            <a:pPr lvl="3"/>
            <a:r>
              <a:rPr lang="en-GB" altLang="en-US" smtClean="0"/>
              <a:t>Click to edit Master text styles</a:t>
            </a:r>
          </a:p>
        </p:txBody>
      </p:sp>
      <p:sp>
        <p:nvSpPr>
          <p:cNvPr id="3257" name="Rectangle 18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510662" y="6404405"/>
            <a:ext cx="65" cy="1601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41">
                <a:solidFill>
                  <a:srgbClr val="A5A6A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900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97" algn="l" defTabSz="1049707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6pPr>
      <a:lvl7pPr marL="864997" algn="l" defTabSz="1049707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7pPr>
      <a:lvl8pPr marL="1297492" algn="l" defTabSz="1049707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8pPr>
      <a:lvl9pPr marL="1729989" algn="l" defTabSz="1049707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514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461181" indent="-201233" algn="l" defTabSz="1049707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680" indent="-201233" algn="l" defTabSz="1049707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6177" indent="-201233" algn="l" defTabSz="1049707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673" indent="-201233" algn="l" defTabSz="1049707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97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997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492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989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488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986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7483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979" algn="l" defTabSz="864997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028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EE5716F9-56B1-413D-8C8A-7804CB930B54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657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028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EE5716F9-56B1-413D-8C8A-7804CB930B54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61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7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66" tIns="45434" rIns="90866" bIns="45434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028" name="Rectangle 396"/>
          <p:cNvSpPr>
            <a:spLocks noChangeArrowheads="1"/>
          </p:cNvSpPr>
          <p:nvPr/>
        </p:nvSpPr>
        <p:spPr bwMode="auto">
          <a:xfrm>
            <a:off x="6019847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EE5716F9-56B1-413D-8C8A-7804CB930B54}" type="slidenum">
              <a:rPr lang="en-GB" altLang="en-US" sz="1041" b="0">
                <a:solidFill>
                  <a:srgbClr val="000000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944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09941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347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692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7038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9384" algn="l" defTabSz="1049340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8217" indent="-168217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7936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7654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7373" indent="-165213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746749" indent="-208769" algn="l" defTabSz="85009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60670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014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361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7706" indent="-201161" algn="l" defTabSz="104934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347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69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03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384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1729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076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422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8768" algn="l" defTabSz="864692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4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9970" y="163513"/>
            <a:ext cx="11032067" cy="72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208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9970" y="1198525"/>
            <a:ext cx="11032067" cy="41545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24982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265725" y="6576607"/>
            <a:ext cx="234949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/>
          <a:lstStyle/>
          <a:p>
            <a:pPr algn="ctr" defTabSz="857783">
              <a:spcAft>
                <a:spcPts val="0"/>
              </a:spcAft>
            </a:pPr>
            <a:fld id="{0AAE6F06-DF1F-4AFE-8A52-B806E3E9D437}" type="slidenum">
              <a:rPr lang="en-GB" sz="1703" b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algn="ctr" defTabSz="857783">
                <a:spcAft>
                  <a:spcPts val="0"/>
                </a:spcAft>
              </a:pPr>
              <a:t>‹#›</a:t>
            </a:fld>
            <a:endParaRPr lang="en-GB" sz="1703" b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Text Box 211"/>
          <p:cNvSpPr txBox="1">
            <a:spLocks noChangeArrowheads="1"/>
          </p:cNvSpPr>
          <p:nvPr/>
        </p:nvSpPr>
        <p:spPr bwMode="auto">
          <a:xfrm>
            <a:off x="11611973" y="6503993"/>
            <a:ext cx="65" cy="13093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870036" fontAlgn="auto">
              <a:spcBef>
                <a:spcPts val="0"/>
              </a:spcBef>
              <a:spcAft>
                <a:spcPts val="0"/>
              </a:spcAft>
            </a:pPr>
            <a:endParaRPr lang="en-GB" sz="851" dirty="0">
              <a:solidFill>
                <a:srgbClr val="A5A6A9"/>
              </a:solidFill>
              <a:latin typeface="Arial"/>
            </a:endParaRPr>
          </a:p>
        </p:txBody>
      </p:sp>
      <p:sp>
        <p:nvSpPr>
          <p:cNvPr id="13" name="Rectangle 230"/>
          <p:cNvSpPr>
            <a:spLocks noChangeArrowheads="1"/>
          </p:cNvSpPr>
          <p:nvPr/>
        </p:nvSpPr>
        <p:spPr bwMode="auto">
          <a:xfrm>
            <a:off x="265729" y="163517"/>
            <a:ext cx="177800" cy="576263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92717" tIns="46360" rIns="92717" bIns="46360" anchor="ctr"/>
          <a:lstStyle/>
          <a:p>
            <a:pPr defTabSz="870036" fontAlgn="auto">
              <a:spcBef>
                <a:spcPct val="50000"/>
              </a:spcBef>
              <a:spcAft>
                <a:spcPts val="0"/>
              </a:spcAft>
            </a:pPr>
            <a:endParaRPr lang="en-US" sz="662" b="0" i="1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5605" y="6356354"/>
            <a:ext cx="3860800" cy="365125"/>
          </a:xfrm>
          <a:prstGeom prst="rect">
            <a:avLst/>
          </a:prstGeom>
        </p:spPr>
        <p:txBody>
          <a:bodyPr vert="horz" lIns="105756" tIns="52877" rIns="105756" bIns="52877" rtlCol="0" anchor="ctr"/>
          <a:lstStyle>
            <a:lvl1pPr algn="ctr">
              <a:defRPr sz="123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82290"/>
            <a:endParaRPr lang="en-GB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0046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</p:sldLayoutIdLst>
  <p:hf sldNum="0" hdr="0" dt="0"/>
  <p:txStyles>
    <p:titleStyle>
      <a:lvl1pPr algn="l" defTabSz="857783" rtl="0" eaLnBrk="1" fontAlgn="base" hangingPunct="1">
        <a:spcBef>
          <a:spcPct val="0"/>
        </a:spcBef>
        <a:spcAft>
          <a:spcPct val="0"/>
        </a:spcAft>
        <a:defRPr sz="2081" b="0">
          <a:solidFill>
            <a:schemeClr val="tx2"/>
          </a:solidFill>
          <a:latin typeface="+mj-lt"/>
          <a:ea typeface="+mj-ea"/>
          <a:cs typeface="Arial"/>
          <a:sym typeface="Arial"/>
        </a:defRPr>
      </a:lvl1pPr>
      <a:lvl2pPr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5pPr>
      <a:lvl6pPr marL="441145"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6pPr>
      <a:lvl7pPr marL="882290"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23434"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8pPr>
      <a:lvl9pPr marL="1764582" algn="l" defTabSz="857783" rtl="0" eaLnBrk="1" fontAlgn="base" hangingPunct="1">
        <a:spcBef>
          <a:spcPct val="0"/>
        </a:spcBef>
        <a:spcAft>
          <a:spcPct val="0"/>
        </a:spcAft>
        <a:defRPr sz="2271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174620" indent="-174620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None/>
        <a:defRPr sz="1608" b="1" i="0" baseline="0">
          <a:solidFill>
            <a:schemeClr val="tx1"/>
          </a:solidFill>
          <a:latin typeface="+mj-lt"/>
          <a:ea typeface="+mn-ea"/>
          <a:cs typeface="Arial"/>
          <a:sym typeface="Arial"/>
        </a:defRPr>
      </a:lvl1pPr>
      <a:lvl2pPr marL="273511" marR="0" indent="-167634" algn="l" defTabSz="85778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2"/>
        </a:buClr>
        <a:buSzTx/>
        <a:buFont typeface="Arial" pitchFamily="34" charset="0"/>
        <a:buChar char="•"/>
        <a:tabLst/>
        <a:defRPr sz="1419" b="0" i="0" baseline="0">
          <a:solidFill>
            <a:schemeClr val="tx1"/>
          </a:solidFill>
          <a:latin typeface="+mj-lt"/>
          <a:cs typeface="Arial"/>
          <a:sym typeface="Arial"/>
        </a:defRPr>
      </a:lvl2pPr>
      <a:lvl3pPr marL="555844" indent="-167634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30" b="0" i="0" baseline="0">
          <a:solidFill>
            <a:schemeClr val="tx1"/>
          </a:solidFill>
          <a:latin typeface="+mj-lt"/>
          <a:cs typeface="Arial"/>
          <a:sym typeface="Arial"/>
        </a:defRPr>
      </a:lvl3pPr>
      <a:lvl4pPr marL="873469" indent="-165429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041" b="0" i="0" baseline="0">
          <a:solidFill>
            <a:schemeClr val="tx1"/>
          </a:solidFill>
          <a:latin typeface="+mj-lt"/>
          <a:cs typeface="Arial"/>
          <a:sym typeface="Arial"/>
        </a:defRPr>
      </a:lvl4pPr>
      <a:lvl5pPr marL="1856485" indent="-211381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851" b="0" i="0">
          <a:solidFill>
            <a:schemeClr val="tx1"/>
          </a:solidFill>
          <a:latin typeface="+mj-lt"/>
          <a:cs typeface="Arial"/>
          <a:sym typeface="Arial"/>
        </a:defRPr>
      </a:lvl5pPr>
      <a:lvl6pPr marL="2369623" indent="-212915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8">
          <a:solidFill>
            <a:schemeClr val="tx1"/>
          </a:solidFill>
          <a:latin typeface="+mn-lt"/>
          <a:cs typeface="+mn-cs"/>
        </a:defRPr>
      </a:lvl6pPr>
      <a:lvl7pPr marL="2810768" indent="-212915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8">
          <a:solidFill>
            <a:schemeClr val="tx1"/>
          </a:solidFill>
          <a:latin typeface="+mn-lt"/>
          <a:cs typeface="+mn-cs"/>
        </a:defRPr>
      </a:lvl7pPr>
      <a:lvl8pPr marL="3251912" indent="-212915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8">
          <a:solidFill>
            <a:schemeClr val="tx1"/>
          </a:solidFill>
          <a:latin typeface="+mn-lt"/>
          <a:cs typeface="+mn-cs"/>
        </a:defRPr>
      </a:lvl8pPr>
      <a:lvl9pPr marL="3693059" indent="-212915" algn="l" defTabSz="857783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8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41145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82290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323434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64582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205725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646869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88015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529160" algn="l" defTabSz="882290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0" descr="inside_banner_bottom_white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47724"/>
            <a:ext cx="12192000" cy="210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11" descr="inside_banner_top_white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28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348" y="503161"/>
            <a:ext cx="10971307" cy="71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633" tIns="50316" rIns="100633" bIns="503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307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348" y="1371300"/>
            <a:ext cx="10971307" cy="452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0633" tIns="50316" rIns="100633" bIns="503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788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94" y="6677764"/>
            <a:ext cx="3859929" cy="47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0633" tIns="50316" rIns="100633" bIns="5031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662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88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2336862" y="6638712"/>
            <a:ext cx="2844551" cy="47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0633" tIns="50316" rIns="100633" bIns="50316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41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6C45C7F-2E6A-4195-A15B-4A608D35426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3080" name="Text Box 7"/>
          <p:cNvSpPr txBox="1">
            <a:spLocks noChangeArrowheads="1"/>
          </p:cNvSpPr>
          <p:nvPr/>
        </p:nvSpPr>
        <p:spPr bwMode="auto">
          <a:xfrm>
            <a:off x="-82126" y="434070"/>
            <a:ext cx="507689" cy="888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altLang="en-US" sz="5771" dirty="0">
                <a:solidFill>
                  <a:srgbClr val="FF0000"/>
                </a:solidFill>
                <a:latin typeface="Wingdings 3" pitchFamily="18" charset="2"/>
              </a:rPr>
              <a:t>}</a:t>
            </a:r>
          </a:p>
        </p:txBody>
      </p:sp>
      <p:sp>
        <p:nvSpPr>
          <p:cNvPr id="3081" name="Text Box 12"/>
          <p:cNvSpPr txBox="1">
            <a:spLocks noChangeArrowheads="1"/>
          </p:cNvSpPr>
          <p:nvPr/>
        </p:nvSpPr>
        <p:spPr bwMode="auto">
          <a:xfrm>
            <a:off x="9837419" y="6673258"/>
            <a:ext cx="2066193" cy="198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211" tIns="47605" rIns="95211" bIns="47605">
            <a:spAutoFit/>
          </a:bodyPr>
          <a:lstStyle/>
          <a:p>
            <a:pPr algn="ctr" eaLnBrk="0" hangingPunct="0"/>
            <a:r>
              <a:rPr lang="en-GB" altLang="en-US" sz="662" dirty="0"/>
              <a:t>© HSBC Holdings plc, 2009. All Rights Reserved. </a:t>
            </a:r>
          </a:p>
        </p:txBody>
      </p:sp>
      <p:sp>
        <p:nvSpPr>
          <p:cNvPr id="3082" name="Text Box 13"/>
          <p:cNvSpPr txBox="1">
            <a:spLocks noChangeArrowheads="1"/>
          </p:cNvSpPr>
          <p:nvPr/>
        </p:nvSpPr>
        <p:spPr bwMode="auto">
          <a:xfrm>
            <a:off x="9151918" y="0"/>
            <a:ext cx="2571138" cy="25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211" tIns="47605" rIns="95211" bIns="47605">
            <a:spAutoFit/>
          </a:bodyPr>
          <a:lstStyle/>
          <a:p>
            <a:pPr algn="ctr" eaLnBrk="0" hangingPunct="0"/>
            <a:r>
              <a:rPr lang="en-GB" altLang="en-US" sz="1041" dirty="0">
                <a:solidFill>
                  <a:schemeClr val="bg1"/>
                </a:solidFill>
              </a:rPr>
              <a:t>HSBC TECHNOLOGY AND SERVICES</a:t>
            </a:r>
          </a:p>
        </p:txBody>
      </p:sp>
      <p:sp>
        <p:nvSpPr>
          <p:cNvPr id="3083" name="Text Box 16"/>
          <p:cNvSpPr txBox="1">
            <a:spLocks noChangeArrowheads="1"/>
          </p:cNvSpPr>
          <p:nvPr/>
        </p:nvSpPr>
        <p:spPr bwMode="auto">
          <a:xfrm>
            <a:off x="164300" y="0"/>
            <a:ext cx="1351253" cy="25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211" tIns="47605" rIns="95211" bIns="47605">
            <a:spAutoFit/>
          </a:bodyPr>
          <a:lstStyle/>
          <a:p>
            <a:pPr algn="ctr" eaLnBrk="0" hangingPunct="0"/>
            <a:r>
              <a:rPr lang="en-GB" altLang="en-US" sz="1041" dirty="0">
                <a:solidFill>
                  <a:schemeClr val="bg1"/>
                </a:solidFill>
              </a:rPr>
              <a:t>GLOBAL FINANCE</a:t>
            </a:r>
          </a:p>
        </p:txBody>
      </p:sp>
    </p:spTree>
    <p:extLst>
      <p:ext uri="{BB962C8B-B14F-4D97-AF65-F5344CB8AC3E}">
        <p14:creationId xmlns:p14="http://schemas.microsoft.com/office/powerpoint/2010/main" val="3560713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ransition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76046"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52094"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428141"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904189" algn="l" rtl="0" eaLnBrk="1" fontAlgn="base" hangingPunct="1"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34302" indent="-234302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Wingdings 3" pitchFamily="18" charset="2"/>
        <a:buChar char="}"/>
        <a:defRPr sz="2081">
          <a:solidFill>
            <a:schemeClr val="tx1"/>
          </a:solidFill>
          <a:latin typeface="+mn-lt"/>
          <a:ea typeface="+mn-ea"/>
          <a:cs typeface="+mn-cs"/>
        </a:defRPr>
      </a:lvl1pPr>
      <a:lvl2pPr marL="591762" indent="-2328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–"/>
        <a:defRPr sz="2933">
          <a:solidFill>
            <a:schemeClr val="tx1"/>
          </a:solidFill>
          <a:latin typeface="+mn-lt"/>
          <a:cs typeface="+mn-cs"/>
        </a:defRPr>
      </a:lvl2pPr>
      <a:lvl3pPr marL="950725" indent="-234302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Wingdings 3" pitchFamily="18" charset="2"/>
        <a:buChar char="}"/>
        <a:defRPr sz="2271">
          <a:solidFill>
            <a:schemeClr val="tx1"/>
          </a:solidFill>
          <a:latin typeface="+mn-lt"/>
          <a:cs typeface="+mn-cs"/>
        </a:defRPr>
      </a:lvl3pPr>
      <a:lvl4pPr marL="1309686" indent="-234302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–"/>
        <a:defRPr sz="1419">
          <a:solidFill>
            <a:schemeClr val="tx1"/>
          </a:solidFill>
          <a:latin typeface="+mn-lt"/>
          <a:cs typeface="+mn-cs"/>
        </a:defRPr>
      </a:lvl4pPr>
      <a:lvl5pPr marL="1779792" indent="-234302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5pPr>
      <a:lvl6pPr marL="2257918" indent="-236371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6pPr>
      <a:lvl7pPr marL="2733964" indent="-236371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7pPr>
      <a:lvl8pPr marL="3210012" indent="-236371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8pPr>
      <a:lvl9pPr marL="3686060" indent="-236371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»"/>
        <a:defRPr sz="1419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1pPr>
      <a:lvl2pPr marL="476046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2pPr>
      <a:lvl3pPr marL="952094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3pPr>
      <a:lvl4pPr marL="1428141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4pPr>
      <a:lvl5pPr marL="1904189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5pPr>
      <a:lvl6pPr marL="2380234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6pPr>
      <a:lvl7pPr marL="2856283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7pPr>
      <a:lvl8pPr marL="3332329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8pPr>
      <a:lvl9pPr marL="3808376" algn="l" defTabSz="952094" rtl="0" eaLnBrk="1" latinLnBrk="0" hangingPunct="1">
        <a:defRPr sz="18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2" y="294387"/>
            <a:ext cx="10836919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79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4099" name="Rectangle 3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81" tIns="45441" rIns="90881" bIns="4544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sp>
        <p:nvSpPr>
          <p:cNvPr id="4100" name="Text Box 47"/>
          <p:cNvSpPr txBox="1">
            <a:spLocks noChangeArrowheads="1"/>
          </p:cNvSpPr>
          <p:nvPr/>
        </p:nvSpPr>
        <p:spPr bwMode="auto">
          <a:xfrm rot="-5400000">
            <a:off x="11632619" y="765378"/>
            <a:ext cx="915315" cy="10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r>
              <a:rPr lang="en-GB" altLang="en-US" sz="662" b="0" dirty="0">
                <a:solidFill>
                  <a:srgbClr val="A5A6A9"/>
                </a:solidFill>
              </a:rPr>
              <a:t>Insert GPS number here</a:t>
            </a:r>
          </a:p>
        </p:txBody>
      </p:sp>
      <p:sp>
        <p:nvSpPr>
          <p:cNvPr id="4101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542" y="1249640"/>
            <a:ext cx="10836919" cy="497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1592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Click to edit Master text styles</a:t>
            </a:r>
          </a:p>
          <a:p>
            <a:pPr lvl="2"/>
            <a:r>
              <a:rPr lang="en-GB" altLang="en-US" smtClean="0"/>
              <a:t>Click to edit Master text styles</a:t>
            </a:r>
          </a:p>
          <a:p>
            <a:pPr lvl="3"/>
            <a:r>
              <a:rPr lang="en-GB" altLang="en-US" smtClean="0"/>
              <a:t>Click to edit Master text styles</a:t>
            </a:r>
          </a:p>
        </p:txBody>
      </p:sp>
      <p:grpSp>
        <p:nvGrpSpPr>
          <p:cNvPr id="4102" name="Group 6"/>
          <p:cNvGrpSpPr>
            <a:grpSpLocks/>
          </p:cNvGrpSpPr>
          <p:nvPr/>
        </p:nvGrpSpPr>
        <p:grpSpPr bwMode="auto">
          <a:xfrm>
            <a:off x="677541" y="294386"/>
            <a:ext cx="10840652" cy="6393891"/>
            <a:chOff x="363" y="196"/>
            <a:chExt cx="5808" cy="4257"/>
          </a:xfrm>
        </p:grpSpPr>
        <p:sp>
          <p:nvSpPr>
            <p:cNvPr id="4105" name="Rectangle 443"/>
            <p:cNvSpPr>
              <a:spLocks noChangeArrowheads="1"/>
            </p:cNvSpPr>
            <p:nvPr userDrawn="1"/>
          </p:nvSpPr>
          <p:spPr bwMode="auto">
            <a:xfrm>
              <a:off x="363" y="4279"/>
              <a:ext cx="1659" cy="174"/>
            </a:xfrm>
            <a:prstGeom prst="rect">
              <a:avLst/>
            </a:prstGeom>
            <a:noFill/>
            <a:ln w="9525">
              <a:solidFill>
                <a:srgbClr val="A5A6A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8239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8239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8239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8239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8239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r>
                <a:rPr lang="en-GB" altLang="en-US" sz="851" b="0" dirty="0">
                  <a:solidFill>
                    <a:srgbClr val="A5A6A9"/>
                  </a:solidFill>
                </a:rPr>
                <a:t>Delete grid from slide master prior to printing</a:t>
              </a:r>
            </a:p>
            <a:p>
              <a:r>
                <a:rPr lang="en-GB" altLang="en-US" sz="851" dirty="0">
                  <a:solidFill>
                    <a:srgbClr val="A5A6A9"/>
                  </a:solidFill>
                </a:rPr>
                <a:t>In 2010</a:t>
              </a:r>
              <a:r>
                <a:rPr lang="en-GB" altLang="en-US" sz="851" b="0" dirty="0">
                  <a:solidFill>
                    <a:srgbClr val="A5A6A9"/>
                  </a:solidFill>
                </a:rPr>
                <a:t> select </a:t>
              </a:r>
              <a:r>
                <a:rPr lang="en-GB" altLang="en-US" sz="851" dirty="0">
                  <a:solidFill>
                    <a:srgbClr val="A5A6A9"/>
                  </a:solidFill>
                </a:rPr>
                <a:t>View &gt; Slide Master</a:t>
              </a:r>
              <a:r>
                <a:rPr lang="en-GB" altLang="en-US" sz="851" b="0" dirty="0">
                  <a:solidFill>
                    <a:srgbClr val="A5A6A9"/>
                  </a:solidFill>
                </a:rPr>
                <a:t> </a:t>
              </a:r>
              <a:r>
                <a:rPr lang="en-GB" altLang="en-US" sz="851" b="0" u="sng" dirty="0">
                  <a:solidFill>
                    <a:srgbClr val="A5A6A9"/>
                  </a:solidFill>
                </a:rPr>
                <a:t>TWICE</a:t>
              </a:r>
              <a:r>
                <a:rPr lang="en-GB" altLang="en-US" sz="851" b="0" dirty="0">
                  <a:solidFill>
                    <a:srgbClr val="A5A6A9"/>
                  </a:solidFill>
                </a:rPr>
                <a:t> to select/delete grid</a:t>
              </a:r>
            </a:p>
          </p:txBody>
        </p:sp>
        <p:sp>
          <p:nvSpPr>
            <p:cNvPr id="4106" name="Rectangle 8"/>
            <p:cNvSpPr>
              <a:spLocks noChangeArrowheads="1"/>
            </p:cNvSpPr>
            <p:nvPr userDrawn="1"/>
          </p:nvSpPr>
          <p:spPr bwMode="auto">
            <a:xfrm>
              <a:off x="363" y="877"/>
              <a:ext cx="2858" cy="158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8249" tIns="44124" rIns="88249" bIns="44124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US" altLang="en-US" sz="662" b="0" i="1" dirty="0"/>
            </a:p>
          </p:txBody>
        </p:sp>
        <p:sp>
          <p:nvSpPr>
            <p:cNvPr id="4107" name="Rectangle 9"/>
            <p:cNvSpPr>
              <a:spLocks noChangeArrowheads="1"/>
            </p:cNvSpPr>
            <p:nvPr userDrawn="1"/>
          </p:nvSpPr>
          <p:spPr bwMode="auto">
            <a:xfrm>
              <a:off x="363" y="2555"/>
              <a:ext cx="2859" cy="1588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US" altLang="en-US" sz="662" b="0" i="1" dirty="0"/>
            </a:p>
          </p:txBody>
        </p:sp>
        <p:sp>
          <p:nvSpPr>
            <p:cNvPr id="4108" name="Rectangle 446"/>
            <p:cNvSpPr>
              <a:spLocks noChangeArrowheads="1"/>
            </p:cNvSpPr>
            <p:nvPr userDrawn="1"/>
          </p:nvSpPr>
          <p:spPr bwMode="auto">
            <a:xfrm>
              <a:off x="5465" y="196"/>
              <a:ext cx="706" cy="363"/>
            </a:xfrm>
            <a:prstGeom prst="rect">
              <a:avLst/>
            </a:prstGeom>
            <a:noFill/>
            <a:ln w="3175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321" tIns="45162" rIns="90321" bIns="45162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lnSpc>
                  <a:spcPts val="662"/>
                </a:lnSpc>
              </a:pPr>
              <a:r>
                <a:rPr lang="en-GB" altLang="en-US" sz="662" b="0" dirty="0">
                  <a:solidFill>
                    <a:srgbClr val="A5A6A9"/>
                  </a:solidFill>
                </a:rPr>
                <a:t>Third party logo</a:t>
              </a:r>
            </a:p>
          </p:txBody>
        </p:sp>
        <p:sp>
          <p:nvSpPr>
            <p:cNvPr id="4109" name="Rectangle 11"/>
            <p:cNvSpPr>
              <a:spLocks noChangeArrowheads="1"/>
            </p:cNvSpPr>
            <p:nvPr userDrawn="1"/>
          </p:nvSpPr>
          <p:spPr bwMode="auto">
            <a:xfrm>
              <a:off x="3311" y="877"/>
              <a:ext cx="2858" cy="1587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88249" tIns="44124" rIns="88249" bIns="44124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endParaRPr lang="en-US" altLang="en-US" sz="662" b="0" i="1" dirty="0"/>
            </a:p>
          </p:txBody>
        </p:sp>
        <p:sp>
          <p:nvSpPr>
            <p:cNvPr id="4110" name="Rectangle 12"/>
            <p:cNvSpPr>
              <a:spLocks noChangeArrowheads="1"/>
            </p:cNvSpPr>
            <p:nvPr userDrawn="1"/>
          </p:nvSpPr>
          <p:spPr bwMode="auto">
            <a:xfrm>
              <a:off x="3310" y="2555"/>
              <a:ext cx="2859" cy="1588"/>
            </a:xfrm>
            <a:prstGeom prst="rect">
              <a:avLst/>
            </a:prstGeom>
            <a:noFill/>
            <a:ln w="6350" algn="ctr">
              <a:solidFill>
                <a:srgbClr val="A5A6A9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defTabSz="900113" eaLnBrk="0" hangingPunct="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28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00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72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4425"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en-US" altLang="en-US" sz="662" b="0" i="1" dirty="0"/>
            </a:p>
          </p:txBody>
        </p:sp>
      </p:grpSp>
      <p:sp>
        <p:nvSpPr>
          <p:cNvPr id="4103" name="Rectangle 396"/>
          <p:cNvSpPr>
            <a:spLocks noChangeArrowheads="1"/>
          </p:cNvSpPr>
          <p:nvPr/>
        </p:nvSpPr>
        <p:spPr bwMode="auto">
          <a:xfrm>
            <a:off x="6018914" y="6403923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B542033A-D9A3-4833-9B33-BE81EE980D4A}" type="slidenum">
              <a:rPr lang="en-GB" altLang="en-US" sz="1041" b="0"/>
              <a:pPr algn="ctr"/>
              <a:t>‹#›</a:t>
            </a:fld>
            <a:endParaRPr lang="en-GB" altLang="en-US" sz="1041" b="0" dirty="0"/>
          </a:p>
        </p:txBody>
      </p:sp>
      <p:sp>
        <p:nvSpPr>
          <p:cNvPr id="70670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510662" y="6404405"/>
            <a:ext cx="65" cy="1601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41">
                <a:solidFill>
                  <a:srgbClr val="A5A6A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414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17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6pPr>
      <a:lvl7pPr marL="864833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7pPr>
      <a:lvl8pPr marL="1297249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8pPr>
      <a:lvl9pPr marL="1729665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513457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6pPr>
      <a:lvl7pPr marL="1945873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7pPr>
      <a:lvl8pPr marL="2378289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8pPr>
      <a:lvl9pPr marL="2810706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17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833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249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665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081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498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914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33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85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81" tIns="45441" rIns="90881" bIns="4544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626469"/>
              </a:solidFill>
            </a:endParaRPr>
          </a:p>
        </p:txBody>
      </p:sp>
      <p:sp>
        <p:nvSpPr>
          <p:cNvPr id="5123" name="Rectangle 396"/>
          <p:cNvSpPr>
            <a:spLocks noChangeArrowheads="1"/>
          </p:cNvSpPr>
          <p:nvPr/>
        </p:nvSpPr>
        <p:spPr bwMode="auto">
          <a:xfrm>
            <a:off x="6018914" y="6403923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819BDE6C-044B-4022-91BC-F43B315E1CB4}" type="slidenum">
              <a:rPr lang="en-GB" altLang="en-US" sz="1041" b="0">
                <a:solidFill>
                  <a:srgbClr val="626469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626469"/>
              </a:solidFill>
            </a:endParaRPr>
          </a:p>
        </p:txBody>
      </p:sp>
      <p:sp>
        <p:nvSpPr>
          <p:cNvPr id="5124" name="Text Box 182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endParaRPr lang="en-US" altLang="en-US" sz="851" dirty="0">
              <a:solidFill>
                <a:srgbClr val="A5A6A9"/>
              </a:solidFill>
            </a:endParaRPr>
          </a:p>
        </p:txBody>
      </p:sp>
      <p:pic>
        <p:nvPicPr>
          <p:cNvPr id="5125" name="Picture 7" descr="GlobalFinance_PRINT_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9328" y="165217"/>
            <a:ext cx="2420855" cy="383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6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1" y="294387"/>
            <a:ext cx="11003037" cy="68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79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504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17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6pPr>
      <a:lvl7pPr marL="864833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7pPr>
      <a:lvl8pPr marL="1297249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8pPr>
      <a:lvl9pPr marL="1729665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513457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6pPr>
      <a:lvl7pPr marL="1945873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7pPr>
      <a:lvl8pPr marL="2378289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8pPr>
      <a:lvl9pPr marL="2810706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17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833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249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665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081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498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914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33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1" y="363477"/>
            <a:ext cx="11003037" cy="545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9163" rIns="0" bIns="1799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6147" name="Rectangle 85"/>
          <p:cNvSpPr>
            <a:spLocks noChangeArrowheads="1"/>
          </p:cNvSpPr>
          <p:nvPr/>
        </p:nvSpPr>
        <p:spPr bwMode="auto">
          <a:xfrm>
            <a:off x="199717" y="294387"/>
            <a:ext cx="220247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81" tIns="45441" rIns="90881" bIns="4544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/>
          </a:p>
        </p:txBody>
      </p:sp>
      <p:sp>
        <p:nvSpPr>
          <p:cNvPr id="6148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542" y="1249640"/>
            <a:ext cx="10836919" cy="497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7817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 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</p:txBody>
      </p:sp>
      <p:sp>
        <p:nvSpPr>
          <p:cNvPr id="6149" name="Rectangle 396"/>
          <p:cNvSpPr>
            <a:spLocks noChangeArrowheads="1"/>
          </p:cNvSpPr>
          <p:nvPr/>
        </p:nvSpPr>
        <p:spPr bwMode="auto">
          <a:xfrm>
            <a:off x="6018914" y="6403923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7845F51E-B1BD-439C-8E96-EED19830A189}" type="slidenum">
              <a:rPr lang="en-GB" altLang="en-US" sz="1041" b="0"/>
              <a:pPr algn="ctr"/>
              <a:t>‹#›</a:t>
            </a:fld>
            <a:endParaRPr lang="en-GB" altLang="en-US" sz="1041" b="0" dirty="0"/>
          </a:p>
        </p:txBody>
      </p:sp>
      <p:sp>
        <p:nvSpPr>
          <p:cNvPr id="3078" name="Text Box 182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01700"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>
              <a:defRPr/>
            </a:pPr>
            <a:endParaRPr lang="en-GB" sz="851" i="0" dirty="0" smtClean="0">
              <a:solidFill>
                <a:schemeClr val="accent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410" tIns="45706" rIns="91410" bIns="45706" rtlCol="0" anchor="ctr"/>
          <a:lstStyle>
            <a:lvl1pPr algn="ctr">
              <a:defRPr sz="1135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099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17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6pPr>
      <a:lvl7pPr marL="864833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7pPr>
      <a:lvl8pPr marL="1297249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8pPr>
      <a:lvl9pPr marL="1729665" algn="l" defTabSz="11020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513457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6pPr>
      <a:lvl7pPr marL="1945873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7pPr>
      <a:lvl8pPr marL="2378289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8pPr>
      <a:lvl9pPr marL="2810706" indent="-211705" algn="l" defTabSz="1102061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17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833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249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665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081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498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914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33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46"/>
          <p:cNvSpPr>
            <a:spLocks noGrp="1" noChangeArrowheads="1"/>
          </p:cNvSpPr>
          <p:nvPr>
            <p:ph type="title"/>
          </p:nvPr>
        </p:nvSpPr>
        <p:spPr bwMode="auto">
          <a:xfrm>
            <a:off x="677541" y="363477"/>
            <a:ext cx="11003037" cy="545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9163" rIns="0" bIns="1799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8195" name="Rectangle 85"/>
          <p:cNvSpPr>
            <a:spLocks noChangeArrowheads="1"/>
          </p:cNvSpPr>
          <p:nvPr/>
        </p:nvSpPr>
        <p:spPr bwMode="auto">
          <a:xfrm>
            <a:off x="199717" y="294387"/>
            <a:ext cx="220247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81" tIns="45441" rIns="90881" bIns="45441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US" altLang="en-US" sz="662" b="0" i="1" dirty="0">
              <a:solidFill>
                <a:srgbClr val="626469"/>
              </a:solidFill>
            </a:endParaRPr>
          </a:p>
        </p:txBody>
      </p:sp>
      <p:sp>
        <p:nvSpPr>
          <p:cNvPr id="8196" name="Rectangle 3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542" y="1249640"/>
            <a:ext cx="10836919" cy="497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7817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 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.</a:t>
            </a:r>
            <a:br>
              <a:rPr lang="en-GB" altLang="en-US" smtClean="0"/>
            </a:br>
            <a:endParaRPr lang="en-GB" altLang="en-US" smtClean="0"/>
          </a:p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  <a:p>
            <a:pPr lvl="0"/>
            <a:r>
              <a:rPr lang="en-GB" altLang="en-US" smtClean="0"/>
              <a:t>Xxxxxxxxxxxxxxxxxxxxxxxxxxxxxxxxxxxxxx</a:t>
            </a:r>
          </a:p>
          <a:p>
            <a:pPr lvl="0"/>
            <a:endParaRPr lang="en-GB" altLang="en-US" smtClean="0"/>
          </a:p>
        </p:txBody>
      </p:sp>
      <p:sp>
        <p:nvSpPr>
          <p:cNvPr id="8197" name="Rectangle 396"/>
          <p:cNvSpPr>
            <a:spLocks noChangeArrowheads="1"/>
          </p:cNvSpPr>
          <p:nvPr/>
        </p:nvSpPr>
        <p:spPr bwMode="auto">
          <a:xfrm>
            <a:off x="6018914" y="6403923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77DDD767-A7D4-46EA-AA2D-3F78888AFA54}" type="slidenum">
              <a:rPr lang="en-GB" altLang="en-US" sz="1041" b="0">
                <a:solidFill>
                  <a:srgbClr val="626469"/>
                </a:solidFill>
              </a:rPr>
              <a:pPr algn="ctr"/>
              <a:t>‹#›</a:t>
            </a:fld>
            <a:endParaRPr lang="en-GB" altLang="en-US" sz="1041" b="0" dirty="0">
              <a:solidFill>
                <a:srgbClr val="626469"/>
              </a:solidFill>
            </a:endParaRPr>
          </a:p>
        </p:txBody>
      </p:sp>
      <p:sp>
        <p:nvSpPr>
          <p:cNvPr id="1030" name="Text Box 182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1700"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defTabSz="901700" eaLnBrk="0" fontAlgn="base" hangingPunct="0">
              <a:spcBef>
                <a:spcPct val="50000"/>
              </a:spcBef>
              <a:spcAft>
                <a:spcPct val="0"/>
              </a:spcAft>
              <a:defRPr sz="700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0" hangingPunct="0">
              <a:defRPr/>
            </a:pPr>
            <a:endParaRPr lang="en-GB" sz="851" i="0" dirty="0" smtClean="0">
              <a:solidFill>
                <a:srgbClr val="A5A6A9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wrap="square" lIns="91410" tIns="45706" rIns="91410" bIns="45706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135" b="0" i="1">
                <a:solidFill>
                  <a:srgbClr val="9E9FA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674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+mj-cs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417" algn="l" defTabSz="1049511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6pPr>
      <a:lvl7pPr marL="864833" algn="l" defTabSz="1049511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7pPr>
      <a:lvl8pPr marL="1297249" algn="l" defTabSz="1049511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8pPr>
      <a:lvl9pPr marL="1729665" algn="l" defTabSz="1049511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211773" indent="-211773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440067" indent="-225290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653342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866616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946">
          <a:solidFill>
            <a:schemeClr val="tx1"/>
          </a:solidFill>
          <a:latin typeface="+mn-lt"/>
          <a:cs typeface="+mn-cs"/>
        </a:defRPr>
      </a:lvl4pPr>
      <a:lvl5pPr marL="1079891" indent="-210271" algn="l" defTabSz="1100918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imes New Roman" pitchFamily="18" charset="0"/>
        <a:buChar char="–"/>
        <a:defRPr sz="851">
          <a:solidFill>
            <a:schemeClr val="tx1"/>
          </a:solidFill>
          <a:latin typeface="+mn-lt"/>
          <a:cs typeface="+mn-cs"/>
        </a:defRPr>
      </a:lvl5pPr>
      <a:lvl6pPr marL="1460907" indent="-201194" algn="l" defTabSz="1049511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3322" indent="-201194" algn="l" defTabSz="1049511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5739" indent="-201194" algn="l" defTabSz="1049511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8155" indent="-201194" algn="l" defTabSz="1049511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417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833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7249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9665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2081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4498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6914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9330" algn="l" defTabSz="864833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9219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799" tIns="45403" rIns="90799" bIns="45403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9220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A9CF1C4-DE1F-4DC4-B40F-82FDE4514C5F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63" tIns="45681" rIns="91363" bIns="45681" rtlCol="0" anchor="ctr"/>
          <a:lstStyle>
            <a:lvl1pPr algn="ctr" defTabSz="952094">
              <a:defRPr sz="1135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714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038" algn="l" defTabSz="104859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071" algn="l" defTabSz="104859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109" algn="l" defTabSz="104859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143" algn="l" defTabSz="104859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59623" indent="-201019" algn="l" defTabSz="104859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1660" indent="-201019" algn="l" defTabSz="104859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3695" indent="-201019" algn="l" defTabSz="104859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5733" indent="-201019" algn="l" defTabSz="104859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038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071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109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143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183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2219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4256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6291" algn="l" defTabSz="86407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Box 211"/>
          <p:cNvSpPr txBox="1">
            <a:spLocks noChangeArrowheads="1"/>
          </p:cNvSpPr>
          <p:nvPr/>
        </p:nvSpPr>
        <p:spPr bwMode="auto">
          <a:xfrm>
            <a:off x="11478931" y="6401401"/>
            <a:ext cx="65" cy="13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US" altLang="en-US" sz="851" dirty="0">
              <a:solidFill>
                <a:srgbClr val="A5A6A9"/>
              </a:solidFill>
            </a:endParaRPr>
          </a:p>
        </p:txBody>
      </p:sp>
      <p:sp>
        <p:nvSpPr>
          <p:cNvPr id="10243" name="Rectangle 230"/>
          <p:cNvSpPr>
            <a:spLocks noChangeArrowheads="1"/>
          </p:cNvSpPr>
          <p:nvPr/>
        </p:nvSpPr>
        <p:spPr bwMode="auto">
          <a:xfrm>
            <a:off x="253845" y="294387"/>
            <a:ext cx="169852" cy="54521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15" tIns="45410" rIns="90815" bIns="45410" anchor="ctr"/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662" b="0" i="1" dirty="0">
              <a:solidFill>
                <a:srgbClr val="000000"/>
              </a:solidFill>
            </a:endParaRPr>
          </a:p>
        </p:txBody>
      </p:sp>
      <p:sp>
        <p:nvSpPr>
          <p:cNvPr id="10244" name="Rectangle 396"/>
          <p:cNvSpPr>
            <a:spLocks noChangeArrowheads="1"/>
          </p:cNvSpPr>
          <p:nvPr/>
        </p:nvSpPr>
        <p:spPr bwMode="auto">
          <a:xfrm>
            <a:off x="6000809" y="6605938"/>
            <a:ext cx="163506" cy="1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defTabSz="90011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28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00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72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4425" defTabSz="9001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65EAA28-05A8-4981-84CD-7CCCC57B6827}" type="slidenum">
              <a:rPr lang="en-GB" altLang="en-US" sz="1041" b="0">
                <a:solidFill>
                  <a:srgbClr val="000000"/>
                </a:solidFill>
              </a:rPr>
              <a:pPr eaLnBrk="1" hangingPunct="1"/>
              <a:t>‹#›</a:t>
            </a:fld>
            <a:endParaRPr lang="en-GB" altLang="en-US" sz="1041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6036" y="6356342"/>
            <a:ext cx="3859929" cy="364979"/>
          </a:xfrm>
          <a:prstGeom prst="rect">
            <a:avLst/>
          </a:prstGeom>
        </p:spPr>
        <p:txBody>
          <a:bodyPr vert="horz" lIns="91377" tIns="45688" rIns="91377" bIns="45688" rtlCol="0" anchor="ctr"/>
          <a:lstStyle>
            <a:lvl1pPr algn="ctr" defTabSz="952249">
              <a:defRPr sz="1135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162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+mj-lt"/>
          <a:ea typeface="+mj-ea"/>
          <a:cs typeface="Arial" charset="0"/>
        </a:defRPr>
      </a:lvl1pPr>
      <a:lvl2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2pPr>
      <a:lvl3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3pPr>
      <a:lvl4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4pPr>
      <a:lvl5pPr algn="l" defTabSz="1100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2"/>
          </a:solidFill>
          <a:latin typeface="Arial" charset="0"/>
          <a:cs typeface="Arial" charset="0"/>
        </a:defRPr>
      </a:lvl5pPr>
      <a:lvl6pPr marL="432108" algn="l" defTabSz="104876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6pPr>
      <a:lvl7pPr marL="864211" algn="l" defTabSz="104876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7pPr>
      <a:lvl8pPr marL="1296320" algn="l" defTabSz="104876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8pPr>
      <a:lvl9pPr marL="1728424" algn="l" defTabSz="1048762" rtl="0" eaLnBrk="1" fontAlgn="base" hangingPunct="1">
        <a:spcBef>
          <a:spcPct val="0"/>
        </a:spcBef>
        <a:spcAft>
          <a:spcPct val="0"/>
        </a:spcAft>
        <a:defRPr sz="2271">
          <a:solidFill>
            <a:schemeClr val="accent1"/>
          </a:solidFill>
          <a:latin typeface="Arial" charset="0"/>
        </a:defRPr>
      </a:lvl9pPr>
    </p:titleStyle>
    <p:bodyStyle>
      <a:lvl1pPr marL="169719" indent="-169719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1608">
          <a:solidFill>
            <a:schemeClr val="tx1"/>
          </a:solidFill>
          <a:latin typeface="+mn-lt"/>
          <a:ea typeface="+mn-ea"/>
          <a:cs typeface="+mn-cs"/>
        </a:defRPr>
      </a:lvl1pPr>
      <a:lvl2pPr marL="339437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325">
          <a:solidFill>
            <a:schemeClr val="tx1"/>
          </a:solidFill>
          <a:latin typeface="+mn-lt"/>
          <a:cs typeface="+mn-cs"/>
        </a:defRPr>
      </a:lvl2pPr>
      <a:lvl3pPr marL="509156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3pPr>
      <a:lvl4pPr marL="678874" indent="-166715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41">
          <a:solidFill>
            <a:schemeClr val="tx1"/>
          </a:solidFill>
          <a:latin typeface="+mn-lt"/>
          <a:cs typeface="+mn-cs"/>
        </a:defRPr>
      </a:lvl4pPr>
      <a:lvl5pPr marL="1746749" indent="-210271" algn="l" defTabSz="85159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35">
          <a:solidFill>
            <a:schemeClr val="tx1"/>
          </a:solidFill>
          <a:latin typeface="+mn-lt"/>
          <a:cs typeface="+mn-cs"/>
        </a:defRPr>
      </a:lvl5pPr>
      <a:lvl6pPr marL="1459861" indent="-201052" algn="l" defTabSz="104876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6pPr>
      <a:lvl7pPr marL="1891968" indent="-201052" algn="l" defTabSz="104876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7pPr>
      <a:lvl8pPr marL="2324074" indent="-201052" algn="l" defTabSz="104876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8pPr>
      <a:lvl9pPr marL="2756181" indent="-201052" algn="l" defTabSz="1048762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 New Roman" pitchFamily="18" charset="0"/>
        <a:buChar char="–"/>
        <a:defRPr sz="75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1pPr>
      <a:lvl2pPr marL="432108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2pPr>
      <a:lvl3pPr marL="864211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3pPr>
      <a:lvl4pPr marL="1296320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28424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60534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92641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3024748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456853" algn="l" defTabSz="864211" rtl="0" eaLnBrk="1" latinLnBrk="0" hangingPunct="1"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cid:image006.jpg@01CFF854.65A7C9B0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3" Type="http://schemas.openxmlformats.org/officeDocument/2006/relationships/image" Target="cid:image006.jpg@01CFF854.65A7C9B0" TargetMode="External"/><Relationship Id="rId7" Type="http://schemas.openxmlformats.org/officeDocument/2006/relationships/image" Target="../media/image18.jpeg"/><Relationship Id="rId12" Type="http://schemas.openxmlformats.org/officeDocument/2006/relationships/image" Target="../media/image23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16.jpeg"/><Relationship Id="rId10" Type="http://schemas.openxmlformats.org/officeDocument/2006/relationships/image" Target="../media/image21.jpe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varun@maynardleigh.in" TargetMode="External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hyperlink" Target="mailto:rohit@maynardleigh.in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dirty="0" smtClean="0"/>
              <a:t>Line Managers’ Journey – Day Thre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 smtClean="0"/>
              <a:t>Re-align and reconnect!</a:t>
            </a:r>
          </a:p>
          <a:p>
            <a:endParaRPr lang="en-US" dirty="0"/>
          </a:p>
        </p:txBody>
      </p:sp>
      <p:pic>
        <p:nvPicPr>
          <p:cNvPr id="5" name="25A1F1B6-5F60-4EAC-94FD-8B7E7D36B5A6" descr="cid:image006.jpg@01CFF854.65A7C9B0"/>
          <p:cNvPicPr>
            <a:picLocks noChangeAspect="1" noChangeArrowheads="1"/>
          </p:cNvPicPr>
          <p:nvPr/>
        </p:nvPicPr>
        <p:blipFill rotWithShape="1">
          <a:blip r:embed="rId2" r:link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 l="13043" r="17391" b="17391"/>
          <a:stretch/>
        </p:blipFill>
        <p:spPr bwMode="auto">
          <a:xfrm>
            <a:off x="9381049" y="3268838"/>
            <a:ext cx="1819149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4401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12" name="25A1F1B6-5F60-4EAC-94FD-8B7E7D36B5A6" descr="cid:image006.jpg@01CFF854.65A7C9B0"/>
          <p:cNvPicPr>
            <a:picLocks noChangeAspect="1" noChangeArrowheads="1"/>
          </p:cNvPicPr>
          <p:nvPr/>
        </p:nvPicPr>
        <p:blipFill>
          <a:blip r:embed="rId2" r:link="rId3" cstate="print"/>
          <a:srcRect/>
          <a:stretch>
            <a:fillRect/>
          </a:stretch>
        </p:blipFill>
        <p:spPr bwMode="auto">
          <a:xfrm>
            <a:off x="4166046" y="1571054"/>
            <a:ext cx="3730154" cy="373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2" name="Picture 2" descr="C:\Documents and Settings\a\My Documents\1 life strategies\Images\Gsk Sonepat\1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0" y="3048000"/>
            <a:ext cx="3048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3" name="Picture 5" descr="C:\Documents and Settings\a\My Documents\1 life strategies\Images\Formulaone\DSC00259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0" y="1676400"/>
            <a:ext cx="3048000" cy="184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4" name="Picture 8" descr="E:\Marketing\Maynard Leigh\Website Content editing\Images\for MLA web,borchure,all about us\DSCN253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24000" y="0"/>
            <a:ext cx="3048000" cy="209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5" name="Picture 5" descr="D:\Training Videos &amp; Pictures\Alcetel lucent\DSC01948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24000" y="5143500"/>
            <a:ext cx="3048000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6" name="Picture 3" descr="C:\Documents and Settings\a\My Documents\1 life strategies\Images\Rediffusion\DSCN0272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72000" y="0"/>
            <a:ext cx="31242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7" name="Picture 3" descr="D:\1\Mydocs in D\1 life strategies\Images\for MLA web,borchure,all about us\DSC01776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518400" y="0"/>
            <a:ext cx="31496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8" name="Picture 2" descr="D:\1\Mydocs in D\1 life strategies\Images\for MLA web,borchure,all about us\DSC01945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467600" y="2057401"/>
            <a:ext cx="3200400" cy="180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9" name="Picture 5" descr="C:\Documents and Settings\a\My Documents\1 life strategies\Images\Gsk Sonepat\5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67600" y="4724400"/>
            <a:ext cx="32004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0" name="Picture 4" descr="C:\Documents and Settings\a\My Documents\1 life strategies\Images\Autodesk Team Building\3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572000" y="4587876"/>
            <a:ext cx="2895600" cy="227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1" name="Picture 2" descr="E:\Life strategies Stamp &amp; Signature\Maitri Gopalakrishna Images\DSCN0043.JPG"/>
          <p:cNvPicPr>
            <a:picLocks noChangeAspect="1" noChangeArrowheads="1"/>
          </p:cNvPicPr>
          <p:nvPr/>
        </p:nvPicPr>
        <p:blipFill>
          <a:blip r:embed="rId13" cstate="print"/>
          <a:srcRect t="25830" b="9271"/>
          <a:stretch>
            <a:fillRect/>
          </a:stretch>
        </p:blipFill>
        <p:spPr bwMode="auto">
          <a:xfrm>
            <a:off x="7467600" y="3657600"/>
            <a:ext cx="3200400" cy="155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8867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5" name="Picture 3" descr="C:\Users\rohit Parewa\Desktop\thank u 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713" y="1557339"/>
            <a:ext cx="5715000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6" name="Rectangle 3"/>
          <p:cNvSpPr>
            <a:spLocks noChangeArrowheads="1"/>
          </p:cNvSpPr>
          <p:nvPr/>
        </p:nvSpPr>
        <p:spPr bwMode="auto">
          <a:xfrm>
            <a:off x="2495550" y="3860800"/>
            <a:ext cx="5886450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sz="1200" b="1" dirty="0">
                <a:solidFill>
                  <a:srgbClr val="C00000"/>
                </a:solidFill>
                <a:latin typeface="Arial" panose="020B0604020202020204" pitchFamily="34" charset="0"/>
              </a:rPr>
              <a:t>For further details, please contact:</a:t>
            </a:r>
            <a:endParaRPr lang="en-IN" sz="1200" dirty="0">
              <a:solidFill>
                <a:srgbClr val="C0000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>
                <a:solidFill>
                  <a:schemeClr val="tx1"/>
                </a:solidFill>
                <a:latin typeface="Arial" panose="020B0604020202020204" pitchFamily="34" charset="0"/>
              </a:rPr>
              <a:t>Varun Gupta</a:t>
            </a: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>
                <a:solidFill>
                  <a:schemeClr val="tx1"/>
                </a:solidFill>
                <a:latin typeface="Arial" panose="020B0604020202020204" pitchFamily="34" charset="0"/>
              </a:rPr>
              <a:t>Tel: 91 9560192443</a:t>
            </a: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>
                <a:solidFill>
                  <a:schemeClr val="tx1"/>
                </a:solidFill>
                <a:latin typeface="Arial" panose="020B0604020202020204" pitchFamily="34" charset="0"/>
                <a:hlinkClick r:id="rId3"/>
              </a:rPr>
              <a:t>varun@maynardleigh.in</a:t>
            </a: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Jigyasa Sharma</a:t>
            </a: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>
                <a:solidFill>
                  <a:schemeClr val="tx1"/>
                </a:solidFill>
                <a:latin typeface="Arial" panose="020B0604020202020204" pitchFamily="34" charset="0"/>
              </a:rPr>
              <a:t>Tel: 91 </a:t>
            </a:r>
            <a:r>
              <a:rPr lang="en-IN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9717922445</a:t>
            </a: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N" sz="1200" dirty="0" smtClean="0">
                <a:solidFill>
                  <a:schemeClr val="tx1"/>
                </a:solidFill>
                <a:latin typeface="Arial" panose="020B0604020202020204" pitchFamily="34" charset="0"/>
                <a:hlinkClick r:id="rId4"/>
              </a:rPr>
              <a:t>jigyasa@maynardleigh.in</a:t>
            </a: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sz="1200" b="1" i="1" dirty="0">
                <a:solidFill>
                  <a:srgbClr val="C00000"/>
                </a:solidFill>
                <a:latin typeface="Arial" panose="020B0604020202020204" pitchFamily="34" charset="0"/>
              </a:rPr>
              <a:t>We look forward to working with you.</a:t>
            </a:r>
            <a:endParaRPr lang="en-IN" sz="1200" dirty="0">
              <a:solidFill>
                <a:srgbClr val="C0000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IN" sz="12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677" name="Slide Number Placeholder 5"/>
          <p:cNvSpPr txBox="1">
            <a:spLocks/>
          </p:cNvSpPr>
          <p:nvPr/>
        </p:nvSpPr>
        <p:spPr bwMode="auto">
          <a:xfrm>
            <a:off x="1905000" y="6356350"/>
            <a:ext cx="8294688" cy="365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fontAlgn="base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dirty="0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3" descr="C:\Users\Varun\Dropbox\Artwork For MLA India - Branding 2016\Swirl_Logos\Yellow_Mayleigh_HighRes_FINALM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328" y="-381000"/>
            <a:ext cx="2423673" cy="2423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07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6622E1E-36BB-4522-8ABC-634C34C0F400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87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Your Mandat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544" y="1299383"/>
            <a:ext cx="5087636" cy="5056959"/>
          </a:xfrm>
        </p:spPr>
        <p:txBody>
          <a:bodyPr/>
          <a:lstStyle/>
          <a:p>
            <a:pPr marL="0" indent="0">
              <a:buNone/>
            </a:pPr>
            <a:r>
              <a:rPr lang="en-IN" sz="1200" b="1" dirty="0">
                <a:solidFill>
                  <a:srgbClr val="002060"/>
                </a:solidFill>
              </a:rPr>
              <a:t>Situation: </a:t>
            </a:r>
          </a:p>
          <a:p>
            <a:pPr marL="0" indent="0">
              <a:buNone/>
            </a:pPr>
            <a:r>
              <a:rPr lang="en-IN" sz="1200" dirty="0"/>
              <a:t>HSBC is conducting a 3 days </a:t>
            </a:r>
            <a:r>
              <a:rPr lang="en-IN" sz="1200" dirty="0" smtClean="0"/>
              <a:t>workshop (2 days in Oct/Nov +1 day in Feb/March) </a:t>
            </a:r>
            <a:r>
              <a:rPr lang="en-IN" sz="1200" dirty="0"/>
              <a:t>for its line managers, covering 315 line manager of GCB 5 AND 6 level. </a:t>
            </a:r>
            <a:r>
              <a:rPr lang="en-IN" sz="1200" dirty="0" smtClean="0"/>
              <a:t>Maynardleigh had partnered with you on </a:t>
            </a:r>
            <a:r>
              <a:rPr lang="en-IN" sz="1200" dirty="0"/>
              <a:t>the second day of this intervention to cover:</a:t>
            </a:r>
          </a:p>
          <a:p>
            <a:r>
              <a:rPr lang="en-IN" sz="1200" dirty="0"/>
              <a:t>People Management</a:t>
            </a:r>
          </a:p>
          <a:p>
            <a:r>
              <a:rPr lang="en-IN" sz="1200" dirty="0"/>
              <a:t>Stakeholder Management</a:t>
            </a:r>
          </a:p>
          <a:p>
            <a:r>
              <a:rPr lang="en-IN" sz="1200" dirty="0" smtClean="0"/>
              <a:t>Communication</a:t>
            </a:r>
          </a:p>
          <a:p>
            <a:pPr marL="0" indent="0">
              <a:buNone/>
            </a:pPr>
            <a:r>
              <a:rPr lang="en-IN" sz="1200" dirty="0" smtClean="0"/>
              <a:t>This document is to share ideas for Day-3, on how we could re-connect with the learning from the workshop.</a:t>
            </a:r>
            <a:endParaRPr lang="en-IN" sz="1200" dirty="0"/>
          </a:p>
          <a:p>
            <a:pPr marL="0" indent="0">
              <a:buNone/>
            </a:pPr>
            <a:endParaRPr lang="en-IN" sz="1200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IN" sz="1200" b="1" dirty="0" smtClean="0">
                <a:solidFill>
                  <a:srgbClr val="002060"/>
                </a:solidFill>
              </a:rPr>
              <a:t>Problem</a:t>
            </a:r>
            <a:r>
              <a:rPr lang="en-IN" sz="1200" b="1" dirty="0">
                <a:solidFill>
                  <a:srgbClr val="002060"/>
                </a:solidFill>
              </a:rPr>
              <a:t>:</a:t>
            </a:r>
          </a:p>
          <a:p>
            <a:r>
              <a:rPr lang="en-IN" sz="1200" dirty="0" smtClean="0"/>
              <a:t>Post the diagnosis, design and delivery of the workshops. Some of the problem statements that exist currently are- </a:t>
            </a:r>
          </a:p>
          <a:p>
            <a:r>
              <a:rPr lang="en-IN" sz="1200" dirty="0" smtClean="0"/>
              <a:t>Leading Self-</a:t>
            </a:r>
          </a:p>
          <a:p>
            <a:pPr lvl="1"/>
            <a:r>
              <a:rPr lang="en-IN" sz="822" dirty="0" smtClean="0"/>
              <a:t>Ownership (Truly accepting the changes in GFC)</a:t>
            </a:r>
          </a:p>
          <a:p>
            <a:pPr lvl="1"/>
            <a:r>
              <a:rPr lang="en-IN" sz="822" dirty="0" smtClean="0"/>
              <a:t>Take responsibility on self and avoid blame game</a:t>
            </a:r>
          </a:p>
          <a:p>
            <a:pPr lvl="1"/>
            <a:r>
              <a:rPr lang="en-IN" sz="822" dirty="0" smtClean="0"/>
              <a:t>Look at your own leadership patterns- functional and dysfunctional</a:t>
            </a:r>
          </a:p>
          <a:p>
            <a:r>
              <a:rPr lang="en-IN" sz="1200" dirty="0" smtClean="0"/>
              <a:t>Leading their team</a:t>
            </a:r>
          </a:p>
          <a:p>
            <a:pPr lvl="1"/>
            <a:r>
              <a:rPr lang="en-IN" sz="822" dirty="0" smtClean="0"/>
              <a:t>Constantly communicating with the team on their performance/expectations</a:t>
            </a:r>
          </a:p>
          <a:p>
            <a:pPr lvl="1"/>
            <a:r>
              <a:rPr lang="en-IN" sz="822" dirty="0" smtClean="0"/>
              <a:t>Regular, factual feedback 			</a:t>
            </a:r>
          </a:p>
          <a:p>
            <a:pPr lvl="1"/>
            <a:r>
              <a:rPr lang="en-IN" sz="822" dirty="0" smtClean="0"/>
              <a:t>Coaching and engaging their teams</a:t>
            </a:r>
          </a:p>
          <a:p>
            <a:r>
              <a:rPr lang="en-IN" sz="1200" dirty="0" smtClean="0"/>
              <a:t>Seeing the big picture- Aligning with the organization</a:t>
            </a:r>
          </a:p>
          <a:p>
            <a:pPr lvl="1"/>
            <a:r>
              <a:rPr lang="en-IN" sz="822" dirty="0"/>
              <a:t>Realise why the changes are happening</a:t>
            </a:r>
          </a:p>
          <a:p>
            <a:pPr lvl="1"/>
            <a:r>
              <a:rPr lang="en-IN" sz="822" dirty="0"/>
              <a:t>Communicate proactively, if you see something not going right- point it out</a:t>
            </a:r>
            <a:r>
              <a:rPr lang="en-IN" sz="822" dirty="0" smtClean="0"/>
              <a:t>.</a:t>
            </a:r>
          </a:p>
          <a:p>
            <a:pPr lvl="1"/>
            <a:r>
              <a:rPr lang="en-IN" sz="822" dirty="0" smtClean="0"/>
              <a:t>Looking at team’s deliverable rather than just self</a:t>
            </a:r>
            <a:endParaRPr lang="en-IN" sz="822" dirty="0"/>
          </a:p>
          <a:p>
            <a:endParaRPr lang="en-IN" sz="12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66263" y="1299383"/>
            <a:ext cx="4729784" cy="4253924"/>
          </a:xfrm>
        </p:spPr>
        <p:txBody>
          <a:bodyPr/>
          <a:lstStyle/>
          <a:p>
            <a:pPr marL="0" lvl="1" indent="0">
              <a:buNone/>
            </a:pPr>
            <a:r>
              <a:rPr lang="en-IN" sz="1200" b="1" dirty="0">
                <a:solidFill>
                  <a:srgbClr val="002060"/>
                </a:solidFill>
              </a:rPr>
              <a:t>Implication:</a:t>
            </a:r>
          </a:p>
          <a:p>
            <a:r>
              <a:rPr lang="en-IN" sz="1200" dirty="0" smtClean="0"/>
              <a:t>While some work has started around being aware of their patterns. The </a:t>
            </a:r>
            <a:r>
              <a:rPr lang="en-IN" sz="1200" dirty="0"/>
              <a:t>gaps in managing people, performance, feedback and effective communication </a:t>
            </a:r>
            <a:r>
              <a:rPr lang="en-IN" sz="1200" dirty="0" smtClean="0"/>
              <a:t>still exist resulting in </a:t>
            </a:r>
            <a:r>
              <a:rPr lang="en-IN" sz="1200" dirty="0"/>
              <a:t>people loosing accountability and trust.</a:t>
            </a:r>
          </a:p>
          <a:p>
            <a:pPr marL="0" indent="0">
              <a:buNone/>
            </a:pPr>
            <a:r>
              <a:rPr lang="en-IN" sz="1200" b="1" dirty="0">
                <a:solidFill>
                  <a:srgbClr val="002060"/>
                </a:solidFill>
              </a:rPr>
              <a:t>Need:</a:t>
            </a:r>
          </a:p>
          <a:p>
            <a:r>
              <a:rPr lang="en-IN" sz="1200" dirty="0" smtClean="0"/>
              <a:t>While we would do a more intense intervention in the coming year, the need now is to reconnect post day-2 to see how the learnings where applied and the challenges faced.</a:t>
            </a:r>
            <a:endParaRPr lang="en-IN" sz="1200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06239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193459" y="949508"/>
            <a:ext cx="11861098" cy="5778640"/>
            <a:chOff x="193459" y="1198890"/>
            <a:chExt cx="11861098" cy="5778640"/>
          </a:xfrm>
        </p:grpSpPr>
        <p:sp>
          <p:nvSpPr>
            <p:cNvPr id="3" name="Rounded Rectangle 2"/>
            <p:cNvSpPr/>
            <p:nvPr/>
          </p:nvSpPr>
          <p:spPr>
            <a:xfrm>
              <a:off x="1262618" y="1198890"/>
              <a:ext cx="7963443" cy="1430179"/>
            </a:xfrm>
            <a:prstGeom prst="round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indent="171450" eaLnBrk="0" hangingPunct="0">
                <a:lnSpc>
                  <a:spcPct val="150000"/>
                </a:lnSpc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Think </a:t>
              </a:r>
            </a:p>
            <a:p>
              <a:pPr marL="214313" indent="-214313" eaLnBrk="0" hangingPunct="0">
                <a:buFont typeface="Arial" panose="020B0604020202020204" pitchFamily="34" charset="0"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dirty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“</a:t>
              </a:r>
              <a:r>
                <a:rPr lang="en-IN" sz="1200" dirty="0">
                  <a:solidFill>
                    <a:schemeClr val="accent1">
                      <a:lumMod val="50000"/>
                    </a:schemeClr>
                  </a:solidFill>
                </a:rPr>
                <a:t>It is possible to develop a wide spectrum of colours in our leadership styles palette. We all have all the colours, it’s just a matter of unlocking them.</a:t>
              </a:r>
              <a:r>
                <a:rPr lang="en-GB" sz="1200" dirty="0" smtClean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”</a:t>
              </a:r>
            </a:p>
            <a:p>
              <a:pPr marL="214313" indent="-214313" eaLnBrk="0" hangingPunct="0">
                <a:buFont typeface="Arial" panose="020B0604020202020204" pitchFamily="34" charset="0"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dirty="0" smtClean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“I need to challenge the perceptions I might be holding against HSBC/ some of my stake-holders”</a:t>
              </a:r>
              <a:endParaRPr lang="en-GB" sz="1200" dirty="0">
                <a:solidFill>
                  <a:schemeClr val="accent1">
                    <a:lumMod val="50000"/>
                  </a:schemeClr>
                </a:solidFill>
                <a:ea typeface="Times New Roman" pitchFamily="18" charset="0"/>
                <a:cs typeface="Arial" pitchFamily="34" charset="0"/>
              </a:endParaRPr>
            </a:p>
            <a:p>
              <a:pPr marL="214313" indent="-214313" eaLnBrk="0" hangingPunct="0">
                <a:buFont typeface="Arial" panose="020B0604020202020204" pitchFamily="34" charset="0"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dirty="0" smtClean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“I have the tools to change my productivity, relations and quality. I need to now get on it”</a:t>
              </a:r>
            </a:p>
            <a:p>
              <a:pPr marL="214313" indent="-214313" eaLnBrk="0" hangingPunct="0">
                <a:buFont typeface="Arial" panose="020B0604020202020204" pitchFamily="34" charset="0"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dirty="0" smtClean="0">
                  <a:solidFill>
                    <a:schemeClr val="accent1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“I can try new ways of getting through to people”</a:t>
              </a:r>
              <a:endParaRPr lang="en-GB" sz="1200" dirty="0">
                <a:solidFill>
                  <a:schemeClr val="accent1">
                    <a:lumMod val="50000"/>
                  </a:schemeClr>
                </a:solidFill>
                <a:ea typeface="Times New Roman" pitchFamily="18" charset="0"/>
                <a:cs typeface="Arial" pitchFamily="34" charset="0"/>
              </a:endParaRPr>
            </a:p>
          </p:txBody>
        </p:sp>
        <p:sp>
          <p:nvSpPr>
            <p:cNvPr id="4" name="Rounded Rectangle 3"/>
            <p:cNvSpPr/>
            <p:nvPr/>
          </p:nvSpPr>
          <p:spPr>
            <a:xfrm>
              <a:off x="2276236" y="3039888"/>
              <a:ext cx="6206777" cy="1021556"/>
            </a:xfrm>
            <a:prstGeom prst="round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eaLnBrk="0" hangingPunct="0">
                <a:lnSpc>
                  <a:spcPct val="150000"/>
                </a:lnSpc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imes New Roman" pitchFamily="18" charset="0"/>
                  <a:cs typeface="Arial" pitchFamily="34" charset="0"/>
                </a:rPr>
                <a:t>Feel: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endParaRP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Ready </a:t>
              </a:r>
              <a:r>
                <a:rPr lang="en-GB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and charged </a:t>
              </a:r>
              <a:r>
                <a:rPr lang="en-GB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to try new ways of doing things.</a:t>
              </a:r>
              <a:endPara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endParaRP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Surprised and responsible- </a:t>
              </a:r>
              <a:r>
                <a:rPr lang="en-GB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I am cause of my challenges.</a:t>
              </a:r>
              <a:endPara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endParaRP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Ready</a:t>
              </a:r>
              <a:r>
                <a:rPr lang="en-GB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 to own up to my </a:t>
              </a:r>
              <a:r>
                <a:rPr lang="en-GB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itchFamily="34" charset="0"/>
                </a:rPr>
                <a:t>word.</a:t>
              </a:r>
              <a:endPara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5" name="Rounded Rectangle 4"/>
            <p:cNvSpPr/>
            <p:nvPr/>
          </p:nvSpPr>
          <p:spPr>
            <a:xfrm>
              <a:off x="3526526" y="4524961"/>
              <a:ext cx="5808270" cy="1021556"/>
            </a:xfrm>
            <a:prstGeom prst="round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indent="171450" eaLnBrk="0" hangingPunct="0">
                <a:lnSpc>
                  <a:spcPct val="150000"/>
                </a:lnSpc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GB" sz="1200" b="1" dirty="0">
                  <a:solidFill>
                    <a:schemeClr val="bg2">
                      <a:lumMod val="50000"/>
                    </a:schemeClr>
                  </a:solidFill>
                  <a:ea typeface="Times New Roman" pitchFamily="18" charset="0"/>
                  <a:cs typeface="Arial" pitchFamily="34" charset="0"/>
                </a:rPr>
                <a:t>Be able to:</a:t>
              </a: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US" sz="1200" dirty="0">
                  <a:solidFill>
                    <a:schemeClr val="bg2">
                      <a:lumMod val="50000"/>
                    </a:schemeClr>
                  </a:solidFill>
                  <a:cs typeface="Arial" pitchFamily="34" charset="0"/>
                </a:rPr>
                <a:t>Handle difficult conversations.</a:t>
              </a: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US" sz="1200" dirty="0" smtClean="0">
                  <a:solidFill>
                    <a:schemeClr val="bg2">
                      <a:lumMod val="50000"/>
                    </a:schemeClr>
                  </a:solidFill>
                  <a:cs typeface="Arial" pitchFamily="34" charset="0"/>
                </a:rPr>
                <a:t>Build positive and trusting working relations.</a:t>
              </a:r>
            </a:p>
            <a:p>
              <a:pPr indent="171450" eaLnBrk="0" hangingPunct="0">
                <a:buFontTx/>
                <a:buChar char="•"/>
                <a:tabLst>
                  <a:tab pos="342900" algn="r"/>
                  <a:tab pos="1977629" algn="ctr"/>
                  <a:tab pos="3955256" algn="r"/>
                </a:tabLst>
                <a:defRPr/>
              </a:pPr>
              <a:r>
                <a:rPr lang="en-US" sz="1200" dirty="0" smtClean="0">
                  <a:solidFill>
                    <a:schemeClr val="bg2">
                      <a:lumMod val="50000"/>
                    </a:schemeClr>
                  </a:solidFill>
                  <a:cs typeface="Arial" pitchFamily="34" charset="0"/>
                </a:rPr>
                <a:t>Shed my inhibitions/egos to accept newer ways of operating </a:t>
              </a:r>
              <a:endParaRPr lang="en-US" sz="1200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endParaRPr>
            </a:p>
          </p:txBody>
        </p:sp>
        <p:pic>
          <p:nvPicPr>
            <p:cNvPr id="6" name="Picture 6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459" y="1656719"/>
              <a:ext cx="963894" cy="972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146" y="3039888"/>
              <a:ext cx="1014626" cy="9300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6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3346" y="4709235"/>
              <a:ext cx="985853" cy="988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695470" y="5857834"/>
              <a:ext cx="3359087" cy="11196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Title 1"/>
          <p:cNvSpPr txBox="1">
            <a:spLocks/>
          </p:cNvSpPr>
          <p:nvPr/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/>
          <a:lstStyle>
            <a:lvl1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+mj-lt"/>
                <a:ea typeface="+mj-ea"/>
                <a:cs typeface="Arial" charset="0"/>
              </a:defRPr>
            </a:lvl1pPr>
            <a:lvl2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32178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6pPr>
            <a:lvl7pPr marL="864352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7pPr>
            <a:lvl8pPr marL="1296531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8pPr>
            <a:lvl9pPr marL="1728705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n-IN" kern="0" dirty="0" smtClean="0"/>
              <a:t>Workshop Objectives</a:t>
            </a:r>
            <a:endParaRPr lang="en-IN" kern="0" dirty="0"/>
          </a:p>
        </p:txBody>
      </p:sp>
    </p:spTree>
    <p:extLst>
      <p:ext uri="{BB962C8B-B14F-4D97-AF65-F5344CB8AC3E}">
        <p14:creationId xmlns:p14="http://schemas.microsoft.com/office/powerpoint/2010/main" val="117428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Diagram 3" descr="image00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429" y="1300612"/>
            <a:ext cx="44958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677544" y="294389"/>
            <a:ext cx="10836919" cy="681895"/>
          </a:xfrm>
          <a:prstGeom prst="rect">
            <a:avLst/>
          </a:prstGeom>
        </p:spPr>
        <p:txBody>
          <a:bodyPr/>
          <a:lstStyle>
            <a:lvl1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+mj-lt"/>
                <a:ea typeface="+mj-ea"/>
                <a:cs typeface="Arial" charset="0"/>
              </a:defRPr>
            </a:lvl1pPr>
            <a:lvl2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32178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6pPr>
            <a:lvl7pPr marL="864352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7pPr>
            <a:lvl8pPr marL="1296531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8pPr>
            <a:lvl9pPr marL="1728705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n-IN" kern="0" dirty="0" smtClean="0"/>
              <a:t>Pre-Workshop Assignment</a:t>
            </a:r>
          </a:p>
          <a:p>
            <a:endParaRPr lang="en-IN" kern="0" dirty="0" smtClean="0"/>
          </a:p>
          <a:p>
            <a:pPr algn="ctr"/>
            <a:r>
              <a:rPr lang="en-IN" sz="1600" kern="0" dirty="0" smtClean="0">
                <a:solidFill>
                  <a:schemeClr val="tx1"/>
                </a:solidFill>
              </a:rPr>
              <a:t>Before Day-3, participants answer 3 questions and bring it to the workshop-</a:t>
            </a:r>
            <a:endParaRPr lang="en-IN" sz="16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1999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0955801"/>
              </p:ext>
            </p:extLst>
          </p:nvPr>
        </p:nvGraphicFramePr>
        <p:xfrm>
          <a:off x="415636" y="649826"/>
          <a:ext cx="11375380" cy="57086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04231"/>
                <a:gridCol w="3191557"/>
                <a:gridCol w="3415721"/>
                <a:gridCol w="1474403"/>
                <a:gridCol w="889468"/>
              </a:tblGrid>
              <a:tr h="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Narrative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ession Title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ession Details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Methodology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Timings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182185"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Introduction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•</a:t>
                      </a:r>
                      <a:r>
                        <a:rPr lang="en-US" sz="1000" dirty="0">
                          <a:effectLst/>
                        </a:rPr>
                        <a:t>       </a:t>
                      </a:r>
                      <a:r>
                        <a:rPr lang="en-US" sz="1050" dirty="0">
                          <a:effectLst/>
                        </a:rPr>
                        <a:t>Welcome and context setting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Theatrical warm up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 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/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10 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2987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•</a:t>
                      </a:r>
                      <a:r>
                        <a:rPr lang="en-US" sz="1000" dirty="0">
                          <a:effectLst/>
                        </a:rPr>
                        <a:t>       </a:t>
                      </a:r>
                      <a:r>
                        <a:rPr lang="en-US" sz="1050" dirty="0">
                          <a:effectLst/>
                        </a:rPr>
                        <a:t>Permissive Encouragement – Play &amp; Express </a:t>
                      </a:r>
                      <a:r>
                        <a:rPr lang="en-US" sz="1050" dirty="0" smtClean="0">
                          <a:effectLst/>
                        </a:rPr>
                        <a:t>yourself. A quick recap of Day-2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51447"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aseline="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Participants start by articulating what has worked and what’s not post Day-2. We give these characters different names to be able to see them objectively.</a:t>
                      </a:r>
                    </a:p>
                  </a:txBody>
                  <a:tcPr marL="26111" marR="26111" marT="0" marB="0" anchor="ctr"/>
                </a:tc>
                <a:tc rowSpan="3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Working on self- The </a:t>
                      </a:r>
                      <a:r>
                        <a:rPr lang="en-US" sz="1050" dirty="0">
                          <a:effectLst/>
                        </a:rPr>
                        <a:t> Inner Cast of character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We have all traits and characteristics in us, Identify one’s that are most functional in the given scenario and gels well with the Purpose/AIM &amp; cast them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3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</a:rPr>
                        <a:t>Facilitator led activity</a:t>
                      </a:r>
                      <a:endParaRPr lang="en-US" sz="105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30 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333551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Identify the inner character most suitable for the situation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4938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dirty="0" smtClean="0">
                          <a:effectLst/>
                        </a:rPr>
                        <a:t>Realize</a:t>
                      </a:r>
                      <a:r>
                        <a:rPr lang="en-GB" sz="1050" baseline="0" dirty="0" smtClean="0">
                          <a:effectLst/>
                        </a:rPr>
                        <a:t> that different  characters have different impact on </a:t>
                      </a:r>
                      <a:r>
                        <a:rPr lang="en-GB" sz="1050" dirty="0" smtClean="0">
                          <a:effectLst/>
                        </a:rPr>
                        <a:t>situations/</a:t>
                      </a:r>
                      <a:r>
                        <a:rPr lang="en-GB" sz="1050" baseline="0" dirty="0" smtClean="0">
                          <a:effectLst/>
                        </a:rPr>
                        <a:t> people. 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10970"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We</a:t>
                      </a:r>
                      <a:r>
                        <a:rPr lang="en-US" sz="1050" baseline="0" dirty="0" smtClean="0">
                          <a:effectLst/>
                        </a:rPr>
                        <a:t> often blame the circumstances/ people for the situation we are in. We use a hard hitting experience to realize that somewhere the ownership is ours to take. 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aseline="0" dirty="0" smtClean="0">
                          <a:effectLst/>
                        </a:rPr>
                        <a:t>This will help set the context for the creative problem solving to follow, allowing the participants to look at themselves while exploring a solution to their difficult situation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Working on relations- Experiential </a:t>
                      </a:r>
                      <a:r>
                        <a:rPr lang="en-US" sz="1050" dirty="0">
                          <a:effectLst/>
                        </a:rPr>
                        <a:t>Game “SPY”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We often blame the people/situations around</a:t>
                      </a:r>
                      <a:r>
                        <a:rPr lang="en-US" sz="1050" baseline="0" dirty="0" smtClean="0">
                          <a:effectLst/>
                        </a:rPr>
                        <a:t> for the state of affairs. This is a p</a:t>
                      </a:r>
                      <a:r>
                        <a:rPr lang="en-US" sz="1050" dirty="0" smtClean="0">
                          <a:effectLst/>
                        </a:rPr>
                        <a:t>owerful </a:t>
                      </a:r>
                      <a:r>
                        <a:rPr lang="en-US" sz="1050" dirty="0">
                          <a:effectLst/>
                        </a:rPr>
                        <a:t>way to uncover that </a:t>
                      </a:r>
                      <a:r>
                        <a:rPr lang="en-US" sz="1050" dirty="0" smtClean="0">
                          <a:effectLst/>
                        </a:rPr>
                        <a:t>it</a:t>
                      </a:r>
                      <a:r>
                        <a:rPr lang="en-US" sz="1050" baseline="0" dirty="0" smtClean="0">
                          <a:effectLst/>
                        </a:rPr>
                        <a:t> is </a:t>
                      </a:r>
                      <a:r>
                        <a:rPr lang="en-US" sz="1050" dirty="0" smtClean="0">
                          <a:effectLst/>
                        </a:rPr>
                        <a:t>our </a:t>
                      </a:r>
                      <a:r>
                        <a:rPr lang="en-US" sz="1050" dirty="0">
                          <a:effectLst/>
                        </a:rPr>
                        <a:t>subjective </a:t>
                      </a:r>
                      <a:r>
                        <a:rPr lang="en-US" sz="1050" dirty="0" smtClean="0">
                          <a:effectLst/>
                        </a:rPr>
                        <a:t>reality-</a:t>
                      </a:r>
                      <a:r>
                        <a:rPr lang="en-US" sz="1050" baseline="0" dirty="0" smtClean="0">
                          <a:effectLst/>
                        </a:rPr>
                        <a:t> and it </a:t>
                      </a:r>
                      <a:r>
                        <a:rPr lang="en-US" sz="1050" dirty="0" smtClean="0">
                          <a:effectLst/>
                        </a:rPr>
                        <a:t>may </a:t>
                      </a:r>
                      <a:r>
                        <a:rPr lang="en-US" sz="1050" dirty="0">
                          <a:effectLst/>
                        </a:rPr>
                        <a:t>be guided by our perceptions. A total shake up experience for participants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Experiential Activity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60 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9336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Assuming positive </a:t>
                      </a:r>
                      <a:r>
                        <a:rPr lang="en-US" sz="1050" dirty="0" smtClean="0">
                          <a:effectLst/>
                        </a:rPr>
                        <a:t>intent- How we build trusting relations</a:t>
                      </a:r>
                      <a:r>
                        <a:rPr lang="en-US" sz="1050" baseline="0" dirty="0" smtClean="0">
                          <a:effectLst/>
                        </a:rPr>
                        <a:t> and take ownership for not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82185">
                <a:tc gridSpan="5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Tea</a:t>
                      </a:r>
                      <a:r>
                        <a:rPr lang="en-US" sz="105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Break (15 Minutes)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h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1738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The </a:t>
                      </a:r>
                      <a:r>
                        <a:rPr lang="en-US" sz="1050" dirty="0" smtClean="0">
                          <a:effectLst/>
                        </a:rPr>
                        <a:t>participants bring in challenging cases in working with stakeholders.</a:t>
                      </a:r>
                      <a:r>
                        <a:rPr lang="en-US" sz="1050" baseline="0" dirty="0" smtClean="0">
                          <a:effectLst/>
                        </a:rPr>
                        <a:t> </a:t>
                      </a:r>
                      <a:r>
                        <a:rPr lang="en-US" sz="1050" dirty="0" smtClean="0">
                          <a:effectLst/>
                        </a:rPr>
                        <a:t>They </a:t>
                      </a:r>
                      <a:r>
                        <a:rPr lang="en-US" sz="1050" dirty="0">
                          <a:effectLst/>
                        </a:rPr>
                        <a:t>use props to display their current state, their successes and </a:t>
                      </a:r>
                      <a:r>
                        <a:rPr lang="en-US" sz="1050" dirty="0" smtClean="0">
                          <a:effectLst/>
                        </a:rPr>
                        <a:t>challenges from </a:t>
                      </a:r>
                      <a:r>
                        <a:rPr lang="en-US" sz="1050" dirty="0">
                          <a:effectLst/>
                        </a:rPr>
                        <a:t>the last </a:t>
                      </a:r>
                      <a:r>
                        <a:rPr lang="en-US" sz="1050" dirty="0" err="1" smtClean="0">
                          <a:effectLst/>
                        </a:rPr>
                        <a:t>MaynardLeigh</a:t>
                      </a:r>
                      <a:r>
                        <a:rPr lang="en-US" sz="1050" dirty="0" smtClean="0">
                          <a:effectLst/>
                        </a:rPr>
                        <a:t> </a:t>
                      </a:r>
                      <a:r>
                        <a:rPr lang="en-US" sz="1050" dirty="0">
                          <a:effectLst/>
                        </a:rPr>
                        <a:t>workshop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Creative Problem Solving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The 40 members would be divided into  </a:t>
                      </a:r>
                      <a:r>
                        <a:rPr lang="en-US" sz="1050" dirty="0" smtClean="0">
                          <a:effectLst/>
                        </a:rPr>
                        <a:t>3 </a:t>
                      </a:r>
                      <a:r>
                        <a:rPr lang="en-US" sz="1050" dirty="0">
                          <a:effectLst/>
                        </a:rPr>
                        <a:t>batches of </a:t>
                      </a:r>
                      <a:r>
                        <a:rPr lang="en-US" sz="1050" dirty="0" smtClean="0">
                          <a:effectLst/>
                        </a:rPr>
                        <a:t>13-14 </a:t>
                      </a:r>
                      <a:r>
                        <a:rPr lang="en-US" sz="1050" dirty="0">
                          <a:effectLst/>
                        </a:rPr>
                        <a:t>member </a:t>
                      </a:r>
                      <a:r>
                        <a:rPr lang="en-US" sz="1050" dirty="0" smtClean="0">
                          <a:effectLst/>
                        </a:rPr>
                        <a:t>each.</a:t>
                      </a:r>
                      <a:r>
                        <a:rPr lang="en-US" sz="1050" baseline="0" dirty="0" smtClean="0">
                          <a:effectLst/>
                        </a:rPr>
                        <a:t> </a:t>
                      </a:r>
                      <a:r>
                        <a:rPr lang="en-US" sz="1050" dirty="0" smtClean="0">
                          <a:effectLst/>
                        </a:rPr>
                        <a:t> These small groups will</a:t>
                      </a:r>
                      <a:r>
                        <a:rPr lang="en-US" sz="1050" baseline="0" dirty="0" smtClean="0">
                          <a:effectLst/>
                        </a:rPr>
                        <a:t> work with </a:t>
                      </a:r>
                      <a:r>
                        <a:rPr lang="en-US" sz="1050" dirty="0" smtClean="0">
                          <a:effectLst/>
                        </a:rPr>
                        <a:t>1 </a:t>
                      </a:r>
                      <a:r>
                        <a:rPr lang="en-US" sz="1050" dirty="0">
                          <a:effectLst/>
                        </a:rPr>
                        <a:t>facilitator. </a:t>
                      </a:r>
                      <a:r>
                        <a:rPr lang="en-US" sz="1050" dirty="0" smtClean="0">
                          <a:effectLst/>
                        </a:rPr>
                        <a:t>We use role-plays, psycho drama, personal</a:t>
                      </a:r>
                      <a:r>
                        <a:rPr lang="en-US" sz="1050" baseline="0" dirty="0" smtClean="0">
                          <a:effectLst/>
                        </a:rPr>
                        <a:t> coaching and rehearsals to </a:t>
                      </a:r>
                      <a:r>
                        <a:rPr lang="en-US" sz="1050" dirty="0" smtClean="0">
                          <a:effectLst/>
                        </a:rPr>
                        <a:t>practice tough scenarios</a:t>
                      </a:r>
                      <a:r>
                        <a:rPr lang="en-US" sz="1050" baseline="0" dirty="0" smtClean="0">
                          <a:effectLst/>
                        </a:rPr>
                        <a:t> and discover solutions. </a:t>
                      </a:r>
                      <a:r>
                        <a:rPr lang="en-US" sz="1050" baseline="0" dirty="0" err="1" smtClean="0">
                          <a:effectLst/>
                        </a:rPr>
                        <a:t>MaynardLeigh</a:t>
                      </a:r>
                      <a:r>
                        <a:rPr lang="en-US" sz="1050" baseline="0" dirty="0" smtClean="0">
                          <a:effectLst/>
                        </a:rPr>
                        <a:t> uses creative facilitation to uncover and unearth personal challenges that individuals face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Experiential Facilitation.</a:t>
                      </a:r>
                      <a:r>
                        <a:rPr lang="en-US" sz="1050" baseline="0" dirty="0" smtClean="0">
                          <a:effectLst/>
                        </a:rPr>
                        <a:t> Group coaching, role plays, forum theatre and Psychodrama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90 </a:t>
                      </a:r>
                      <a:r>
                        <a:rPr lang="en-US" sz="1050" dirty="0">
                          <a:effectLst/>
                        </a:rPr>
                        <a:t>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  <a:tr h="35992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Closing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 smtClean="0">
                          <a:effectLst/>
                        </a:rPr>
                        <a:t>The consultant</a:t>
                      </a:r>
                      <a:r>
                        <a:rPr lang="en-US" sz="1050" baseline="0" dirty="0" smtClean="0">
                          <a:effectLst/>
                        </a:rPr>
                        <a:t> hands participants- “Admit cards” These suggest the workshops they must attend in the coming year. Each participant also makes a learning plan for themselves.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Action Planning Completion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 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</a:rPr>
                        <a:t>10 minutes</a:t>
                      </a:r>
                      <a:endParaRPr lang="en-US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111" marR="26111" marT="0" marB="0" anchor="ctr"/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677542" y="177157"/>
            <a:ext cx="10836919" cy="681895"/>
          </a:xfrm>
          <a:prstGeom prst="rect">
            <a:avLst/>
          </a:prstGeom>
        </p:spPr>
        <p:txBody>
          <a:bodyPr/>
          <a:lstStyle>
            <a:lvl1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+mj-lt"/>
                <a:ea typeface="+mj-ea"/>
                <a:cs typeface="Arial" charset="0"/>
              </a:defRPr>
            </a:lvl1pPr>
            <a:lvl2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defTabSz="110091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8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32178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6pPr>
            <a:lvl7pPr marL="864352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7pPr>
            <a:lvl8pPr marL="1296531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8pPr>
            <a:lvl9pPr marL="1728705" algn="l" defTabSz="1048933" rtl="0" eaLnBrk="1" fontAlgn="base" hangingPunct="1">
              <a:spcBef>
                <a:spcPct val="0"/>
              </a:spcBef>
              <a:spcAft>
                <a:spcPct val="0"/>
              </a:spcAft>
              <a:defRPr sz="2271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n-IN" kern="0" dirty="0" smtClean="0"/>
              <a:t>Tentative workshop Design (15 participants per consultant)</a:t>
            </a:r>
            <a:endParaRPr lang="en-IN" kern="0" dirty="0"/>
          </a:p>
        </p:txBody>
      </p:sp>
    </p:spTree>
    <p:extLst>
      <p:ext uri="{BB962C8B-B14F-4D97-AF65-F5344CB8AC3E}">
        <p14:creationId xmlns:p14="http://schemas.microsoft.com/office/powerpoint/2010/main" val="1092264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Synergies with Day Two</a:t>
            </a:r>
            <a:endParaRPr lang="en-IN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4373197"/>
              </p:ext>
            </p:extLst>
          </p:nvPr>
        </p:nvGraphicFramePr>
        <p:xfrm>
          <a:off x="677863" y="1181100"/>
          <a:ext cx="10836275" cy="4972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58062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The way ahead- Plan for next year.</a:t>
            </a:r>
            <a:endParaRPr lang="en-IN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11292" y="753261"/>
            <a:ext cx="11565913" cy="4973027"/>
          </a:xfrm>
        </p:spPr>
        <p:txBody>
          <a:bodyPr/>
          <a:lstStyle/>
          <a:p>
            <a:r>
              <a:rPr lang="en-US" sz="1600" b="1" dirty="0"/>
              <a:t>Need to sustain the change-</a:t>
            </a:r>
          </a:p>
          <a:p>
            <a:pPr lvl="1"/>
            <a:r>
              <a:rPr lang="en-US" sz="1200" dirty="0" smtClean="0"/>
              <a:t>Our work this year with the leaders at GFC, was to just start a conversation. We have created an awareness in GCB- 5 and 6 around their patterns and a need to bring about a change.</a:t>
            </a:r>
          </a:p>
          <a:p>
            <a:pPr lvl="1"/>
            <a:r>
              <a:rPr lang="en-US" sz="1200" dirty="0" smtClean="0"/>
              <a:t>In the coming year, we hope to work in depth on the issues we’d uncovered in the diagnosis meetings and observed during the workshops.</a:t>
            </a:r>
          </a:p>
          <a:p>
            <a:r>
              <a:rPr lang="en-US" sz="1600" b="1" dirty="0"/>
              <a:t>Regular touch points</a:t>
            </a:r>
          </a:p>
          <a:p>
            <a:pPr lvl="1"/>
            <a:r>
              <a:rPr lang="en-US" sz="1200" dirty="0" smtClean="0"/>
              <a:t>Over the next year, we propose to do </a:t>
            </a:r>
            <a:r>
              <a:rPr lang="en-US" sz="1200" b="1" u="sng" dirty="0" smtClean="0"/>
              <a:t>1 workshop every quarter</a:t>
            </a:r>
            <a:r>
              <a:rPr lang="en-US" sz="1200" u="sng" dirty="0" smtClean="0"/>
              <a:t> </a:t>
            </a:r>
            <a:r>
              <a:rPr lang="en-US" sz="1200" dirty="0" smtClean="0"/>
              <a:t>for all the line managers. These are topics which are essential for anyone to be a manager at GFC. The shortlisted topics are-</a:t>
            </a:r>
          </a:p>
          <a:p>
            <a:pPr lvl="4"/>
            <a:r>
              <a:rPr lang="en-US" sz="1200" dirty="0" smtClean="0"/>
              <a:t>Talent engagement- Valuing, Involving, Developing and Inspiring your teams</a:t>
            </a:r>
          </a:p>
          <a:p>
            <a:pPr lvl="4"/>
            <a:r>
              <a:rPr lang="en-US" sz="1200" dirty="0" smtClean="0"/>
              <a:t>Influencing </a:t>
            </a:r>
            <a:r>
              <a:rPr lang="en-US" sz="1200" dirty="0"/>
              <a:t>(will cover blaming v/s owning, being assertive, collaboration &amp; collaborative mindset)</a:t>
            </a:r>
          </a:p>
          <a:p>
            <a:pPr lvl="4"/>
            <a:r>
              <a:rPr lang="en-US" sz="1200" dirty="0" smtClean="0"/>
              <a:t>Managing stress- Being emotionally intelligent to manage self, people and situations.</a:t>
            </a:r>
            <a:endParaRPr lang="en-US" sz="1200" dirty="0"/>
          </a:p>
          <a:p>
            <a:pPr lvl="4"/>
            <a:r>
              <a:rPr lang="en-US" sz="1200" dirty="0" smtClean="0"/>
              <a:t>Prioritization- Managing expectations and bring your peak performance at work.</a:t>
            </a:r>
            <a:endParaRPr lang="en-US" sz="1100" dirty="0"/>
          </a:p>
          <a:p>
            <a:r>
              <a:rPr lang="en-US" sz="1600" b="1" dirty="0" smtClean="0"/>
              <a:t>Personalized learning journey</a:t>
            </a:r>
          </a:p>
          <a:p>
            <a:pPr lvl="1"/>
            <a:r>
              <a:rPr lang="en-US" sz="1200" dirty="0" smtClean="0"/>
              <a:t>We would schedule </a:t>
            </a:r>
            <a:r>
              <a:rPr lang="en-US" sz="1200" dirty="0"/>
              <a:t>a series of expresso </a:t>
            </a:r>
            <a:r>
              <a:rPr lang="en-US" sz="1200" dirty="0" smtClean="0"/>
              <a:t>sessions over the year. </a:t>
            </a:r>
            <a:r>
              <a:rPr lang="en-US" sz="1200" dirty="0"/>
              <a:t>These are short and quick 2 hour sessions which the line managers can nominate themselves to as the need arises. </a:t>
            </a:r>
          </a:p>
          <a:p>
            <a:pPr lvl="1"/>
            <a:r>
              <a:rPr lang="en-US" sz="1200" dirty="0" err="1"/>
              <a:t>MaynardLeigh</a:t>
            </a:r>
            <a:r>
              <a:rPr lang="en-US" sz="1200" dirty="0"/>
              <a:t> consultants </a:t>
            </a:r>
            <a:r>
              <a:rPr lang="en-US" sz="1200" dirty="0" smtClean="0"/>
              <a:t>will also hand </a:t>
            </a:r>
            <a:r>
              <a:rPr lang="en-US" sz="1200" dirty="0"/>
              <a:t>participants “Admit cards” on day 3, these are cards </a:t>
            </a:r>
            <a:r>
              <a:rPr lang="en-US" sz="1200" dirty="0" smtClean="0"/>
              <a:t>suggest </a:t>
            </a:r>
            <a:r>
              <a:rPr lang="en-US" sz="1200" dirty="0"/>
              <a:t>workshops </a:t>
            </a:r>
            <a:r>
              <a:rPr lang="en-US" sz="1200" dirty="0" smtClean="0"/>
              <a:t>that the managers should be a </a:t>
            </a:r>
            <a:r>
              <a:rPr lang="en-US" sz="1200" dirty="0"/>
              <a:t>part </a:t>
            </a:r>
            <a:r>
              <a:rPr lang="en-US" sz="1200" dirty="0" smtClean="0"/>
              <a:t>of in the coming year. The consultant decides this basis their observations of individual participants. Some of the expresso sessions suggested are-</a:t>
            </a:r>
          </a:p>
          <a:p>
            <a:pPr lvl="4"/>
            <a:r>
              <a:rPr lang="en-US" sz="1200" dirty="0" smtClean="0"/>
              <a:t>What </a:t>
            </a:r>
            <a:r>
              <a:rPr lang="en-US" sz="1200" dirty="0"/>
              <a:t>to do when feedback doesn’t work (Herein advanced techniques of giving feedback are covered. Things like people not receiving feedback, crying during feedback, emotional outbreaks, or taking no action post feedback)</a:t>
            </a:r>
          </a:p>
          <a:p>
            <a:pPr lvl="4"/>
            <a:r>
              <a:rPr lang="en-US" sz="1200" dirty="0" smtClean="0"/>
              <a:t>Psychology </a:t>
            </a:r>
            <a:r>
              <a:rPr lang="en-US" sz="1200" dirty="0"/>
              <a:t>of peak performance.</a:t>
            </a:r>
          </a:p>
          <a:p>
            <a:pPr lvl="4"/>
            <a:r>
              <a:rPr lang="en-US" sz="1200" dirty="0" smtClean="0"/>
              <a:t>How </a:t>
            </a:r>
            <a:r>
              <a:rPr lang="en-US" sz="1200" dirty="0"/>
              <a:t>to convert victim to chooser</a:t>
            </a:r>
          </a:p>
          <a:p>
            <a:pPr lvl="4"/>
            <a:r>
              <a:rPr lang="en-US" sz="1200" dirty="0" smtClean="0"/>
              <a:t>Motivating </a:t>
            </a:r>
            <a:r>
              <a:rPr lang="en-US" sz="1200" dirty="0"/>
              <a:t>others</a:t>
            </a:r>
          </a:p>
          <a:p>
            <a:pPr lvl="4"/>
            <a:r>
              <a:rPr lang="en-US" sz="1200" dirty="0" smtClean="0"/>
              <a:t>Motivating </a:t>
            </a:r>
            <a:r>
              <a:rPr lang="en-US" sz="1200" dirty="0"/>
              <a:t>self(with change/scale of work coming)</a:t>
            </a:r>
          </a:p>
          <a:p>
            <a:pPr lvl="4"/>
            <a:r>
              <a:rPr lang="en-US" sz="1200" dirty="0" smtClean="0"/>
              <a:t>High </a:t>
            </a:r>
            <a:r>
              <a:rPr lang="en-US" sz="1200" dirty="0"/>
              <a:t>stake Coaching-Challenging Coach</a:t>
            </a:r>
            <a:r>
              <a:rPr lang="en-US" sz="1200" dirty="0" smtClean="0"/>
              <a:t>.</a:t>
            </a:r>
          </a:p>
          <a:p>
            <a:pPr lvl="1"/>
            <a:r>
              <a:rPr lang="en-US" sz="1200" dirty="0" smtClean="0"/>
              <a:t>We also recommend one coaching connect for the line managers every quarter. This could be with their GCB- 4 leaders or with </a:t>
            </a:r>
            <a:r>
              <a:rPr lang="en-US" sz="1200" dirty="0" err="1" smtClean="0"/>
              <a:t>MaynardLeigh</a:t>
            </a:r>
            <a:r>
              <a:rPr lang="en-US" sz="1200" dirty="0" smtClean="0"/>
              <a:t> consultant.</a:t>
            </a:r>
          </a:p>
          <a:p>
            <a:pPr lvl="1"/>
            <a:endParaRPr lang="en-US" sz="1200" dirty="0"/>
          </a:p>
          <a:p>
            <a:pPr lvl="1"/>
            <a:endParaRPr lang="en-US" sz="1400" dirty="0"/>
          </a:p>
          <a:p>
            <a:pPr lvl="1"/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3791602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7635418"/>
              </p:ext>
            </p:extLst>
          </p:nvPr>
        </p:nvGraphicFramePr>
        <p:xfrm>
          <a:off x="3234" y="974679"/>
          <a:ext cx="12192001" cy="5797511"/>
        </p:xfrm>
        <a:graphic>
          <a:graphicData uri="http://schemas.openxmlformats.org/drawingml/2006/table">
            <a:tbl>
              <a:tblPr>
                <a:tableStyleId>{AF606853-7671-496A-8E4F-DF71F8EC918B}</a:tableStyleId>
              </a:tblPr>
              <a:tblGrid>
                <a:gridCol w="5827594"/>
                <a:gridCol w="4650653"/>
                <a:gridCol w="1713754"/>
              </a:tblGrid>
              <a:tr h="769340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vestment for Day-3 Line Managers Journey (15 Participants per consultant)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400" u="sng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l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Arial"/>
                        <a:ea typeface="Times New Roman"/>
                        <a:cs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935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240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t</a:t>
                      </a: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Day workshop 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leaders in Europe (Poland) Susie and </a:t>
                      </a:r>
                      <a:r>
                        <a:rPr lang="en-US" sz="24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eeve</a:t>
                      </a:r>
                      <a:endParaRPr lang="en-US" sz="2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£4,05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17841"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nd and 3rd Day workshop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   1 leader in Europe (Susie):  Day @ £</a:t>
                      </a:r>
                      <a:r>
                        <a:rPr lang="en-US" sz="2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50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b="1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b="1" kern="12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Indian Currency)</a:t>
                      </a:r>
                      <a:endParaRPr lang="en-US" sz="18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£5,100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2400" b="1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£9,150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b="1" kern="12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INR 7,56,980)</a:t>
                      </a:r>
                    </a:p>
                    <a:p>
                      <a:pPr marL="0" algn="l" defTabSz="864352" rtl="0" eaLnBrk="1" latinLnBrk="0" hangingPunct="1">
                        <a:spcAft>
                          <a:spcPts val="0"/>
                        </a:spcAft>
                      </a:pPr>
                      <a:endParaRPr lang="en-US" sz="2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extBox 2"/>
          <p:cNvSpPr txBox="1">
            <a:spLocks noChangeArrowheads="1"/>
          </p:cNvSpPr>
          <p:nvPr/>
        </p:nvSpPr>
        <p:spPr bwMode="auto">
          <a:xfrm>
            <a:off x="573206" y="190276"/>
            <a:ext cx="5921814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0091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latin typeface="Arial" panose="020B0604020202020204" pitchFamily="34" charset="0"/>
              </a:rPr>
              <a:t>Your Investment for the intervention</a:t>
            </a:r>
          </a:p>
        </p:txBody>
      </p:sp>
    </p:spTree>
    <p:extLst>
      <p:ext uri="{BB962C8B-B14F-4D97-AF65-F5344CB8AC3E}">
        <p14:creationId xmlns:p14="http://schemas.microsoft.com/office/powerpoint/2010/main" val="3863557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Terms and Condi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Client is responsible for providing venue, conference facilities, AV equipment.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Travel outside Delhi NCR - Air, stay &amp; airport/ venue cab transfers to be taken care by the client. 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Travel inside Delhi NCR - at </a:t>
            </a:r>
            <a:r>
              <a:rPr lang="en-US" sz="1800" dirty="0" err="1">
                <a:solidFill>
                  <a:schemeClr val="accent5">
                    <a:lumMod val="50000"/>
                  </a:schemeClr>
                </a:solidFill>
              </a:rPr>
              <a:t>Rs</a:t>
            </a: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. 12.00 Per Km.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Not inclusive of applicable taxes (service tax @ 15.00%). 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A commercial contract will be signed before the execution of the project. 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50% of cancellation fee will be charged on any cancellation or postponements that occur within 3 to 20 working days of the confirmed date of delivery. 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100% of cancellation fee will be charged on any cancellation or postponements that occur within 0 to 2 working days of the confirmed date of delivery.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The above commercials are valid till the 31</a:t>
            </a:r>
            <a:r>
              <a:rPr lang="en-US" sz="1800" baseline="30000" dirty="0">
                <a:solidFill>
                  <a:schemeClr val="accent5">
                    <a:lumMod val="50000"/>
                  </a:schemeClr>
                </a:solidFill>
              </a:rPr>
              <a:t>st</a:t>
            </a: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 March, 2017</a:t>
            </a:r>
          </a:p>
          <a:p>
            <a:pPr marL="266700" indent="-266700">
              <a:spcAft>
                <a:spcPts val="200"/>
              </a:spcAft>
              <a:buFont typeface="Wingdings" pitchFamily="2" charset="2"/>
              <a:buChar char="v"/>
              <a:defRPr/>
            </a:pP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Contracts, legal &amp; accounting paperwork (including billing &amp; payments) will be in the name of “Life Strategies </a:t>
            </a:r>
            <a:r>
              <a:rPr lang="en-US" sz="1800" dirty="0" err="1">
                <a:solidFill>
                  <a:schemeClr val="accent5">
                    <a:lumMod val="50000"/>
                  </a:schemeClr>
                </a:solidFill>
              </a:rPr>
              <a:t>Humancare</a:t>
            </a:r>
            <a:r>
              <a:rPr lang="en-US" sz="1800" dirty="0">
                <a:solidFill>
                  <a:schemeClr val="accent5">
                    <a:lumMod val="50000"/>
                  </a:schemeClr>
                </a:solidFill>
              </a:rPr>
              <a:t> Pvt. Ltd.”  </a:t>
            </a:r>
            <a:endParaRPr lang="en-US" sz="18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987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6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7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8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9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0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1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2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3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4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5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6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4_A4 Non-Message Driven HSBC">
  <a:themeElements>
    <a:clrScheme name="A4 Non-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7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18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9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3_Blank">
  <a:themeElements>
    <a:clrScheme name="HSBC">
      <a:dk1>
        <a:srgbClr val="000000"/>
      </a:dk1>
      <a:lt1>
        <a:srgbClr val="FFFFFF"/>
      </a:lt1>
      <a:dk2>
        <a:srgbClr val="FF0000"/>
      </a:dk2>
      <a:lt2>
        <a:srgbClr val="A5A6A9"/>
      </a:lt2>
      <a:accent1>
        <a:srgbClr val="EAEAEA"/>
      </a:accent1>
      <a:accent2>
        <a:srgbClr val="559FD3"/>
      </a:accent2>
      <a:accent3>
        <a:srgbClr val="CACBCD"/>
      </a:accent3>
      <a:accent4>
        <a:srgbClr val="FF0000"/>
      </a:accent4>
      <a:accent5>
        <a:srgbClr val="ABB0BC"/>
      </a:accent5>
      <a:accent6>
        <a:srgbClr val="FDB812"/>
      </a:accent6>
      <a:hlink>
        <a:srgbClr val="1A4173"/>
      </a:hlink>
      <a:folHlink>
        <a:srgbClr val="B9D3ED"/>
      </a:folHlink>
    </a:clrScheme>
    <a:fontScheme name="HSB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8E8E8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1" i="0" u="none" strike="noStrike" cap="none" normalizeH="0" baseline="0" dirty="0" smtClean="0">
            <a:solidFill>
              <a:schemeClr val="tx1"/>
            </a:solidFill>
            <a:effectLst/>
            <a:cs typeface="Arial" pitchFamily="34" charset="0"/>
          </a:defRPr>
        </a:defPPr>
      </a:lstStyle>
    </a:spDef>
    <a:lnDef>
      <a:spPr bwMode="auto">
        <a:noFill/>
        <a:ln w="9525" cap="flat" cmpd="sng" algn="ctr">
          <a:solidFill>
            <a:srgbClr val="626469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  <a:txDef>
      <a:spPr>
        <a:noFill/>
      </a:spPr>
      <a:bodyPr wrap="square" rtlCol="0" anchor="ctr">
        <a:spAutoFit/>
      </a:bodyPr>
      <a:lstStyle>
        <a:defPPr algn="ctr">
          <a:defRPr sz="1200" b="1" dirty="0" smtClean="0">
            <a:cs typeface="Arial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A4 Non-Message Driven HSBC">
  <a:themeElements>
    <a:clrScheme name="A4 Non-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Non-Message Driven HSBC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4 Non-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A4 Non-Message Driven HSBC">
  <a:themeElements>
    <a:clrScheme name="2_A4 Non-Message Driven HSBC 1">
      <a:dk1>
        <a:srgbClr val="626469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535459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2_A4 Non-Message Driven HSBC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A4 Non-Message Driven HSBC 1">
        <a:dk1>
          <a:srgbClr val="626469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535459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A4 Non-Message Driven HSBC">
  <a:themeElements>
    <a:clrScheme name="1_A4 Non-Message Driven HSBC 1">
      <a:dk1>
        <a:srgbClr val="626469"/>
      </a:dk1>
      <a:lt1>
        <a:srgbClr val="FFFFFF"/>
      </a:lt1>
      <a:dk2>
        <a:srgbClr val="FF0000"/>
      </a:dk2>
      <a:lt2>
        <a:srgbClr val="EAEAEA"/>
      </a:lt2>
      <a:accent1>
        <a:srgbClr val="A5A6A9"/>
      </a:accent1>
      <a:accent2>
        <a:srgbClr val="FFDFA4"/>
      </a:accent2>
      <a:accent3>
        <a:srgbClr val="FFFFFF"/>
      </a:accent3>
      <a:accent4>
        <a:srgbClr val="535459"/>
      </a:accent4>
      <a:accent5>
        <a:srgbClr val="CFD0D1"/>
      </a:accent5>
      <a:accent6>
        <a:srgbClr val="E7CA94"/>
      </a:accent6>
      <a:hlink>
        <a:srgbClr val="B9D3ED"/>
      </a:hlink>
      <a:folHlink>
        <a:srgbClr val="D4E7E1"/>
      </a:folHlink>
    </a:clrScheme>
    <a:fontScheme name="1_A4 Non-Message Driven HSBC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A4 Non-Message Driven HSBC 1">
        <a:dk1>
          <a:srgbClr val="626469"/>
        </a:dk1>
        <a:lt1>
          <a:srgbClr val="FFFFFF"/>
        </a:lt1>
        <a:dk2>
          <a:srgbClr val="FF0000"/>
        </a:dk2>
        <a:lt2>
          <a:srgbClr val="EAEAEA"/>
        </a:lt2>
        <a:accent1>
          <a:srgbClr val="A5A6A9"/>
        </a:accent1>
        <a:accent2>
          <a:srgbClr val="FFDFA4"/>
        </a:accent2>
        <a:accent3>
          <a:srgbClr val="FFFFFF"/>
        </a:accent3>
        <a:accent4>
          <a:srgbClr val="535459"/>
        </a:accent4>
        <a:accent5>
          <a:srgbClr val="CFD0D1"/>
        </a:accent5>
        <a:accent6>
          <a:srgbClr val="E7CA94"/>
        </a:accent6>
        <a:hlink>
          <a:srgbClr val="B9D3ED"/>
        </a:hlink>
        <a:folHlink>
          <a:srgbClr val="D4E7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A4 Non-Message Driven HSBC">
  <a:themeElements>
    <a:clrScheme name="A4 Non-Message Driven HSBC 1">
      <a:dk1>
        <a:srgbClr val="626469"/>
      </a:dk1>
      <a:lt1>
        <a:srgbClr val="FFFFFF"/>
      </a:lt1>
      <a:dk2>
        <a:srgbClr val="FF0000"/>
      </a:dk2>
      <a:lt2>
        <a:srgbClr val="EAEAEA"/>
      </a:lt2>
      <a:accent1>
        <a:srgbClr val="A5A6A9"/>
      </a:accent1>
      <a:accent2>
        <a:srgbClr val="FFDFA4"/>
      </a:accent2>
      <a:accent3>
        <a:srgbClr val="FFFFFF"/>
      </a:accent3>
      <a:accent4>
        <a:srgbClr val="535459"/>
      </a:accent4>
      <a:accent5>
        <a:srgbClr val="CFD0D1"/>
      </a:accent5>
      <a:accent6>
        <a:srgbClr val="E7CA94"/>
      </a:accent6>
      <a:hlink>
        <a:srgbClr val="B9D3ED"/>
      </a:hlink>
      <a:folHlink>
        <a:srgbClr val="D4E7E1"/>
      </a:folHlink>
    </a:clrScheme>
    <a:fontScheme name="A4 Non-Message Driv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ctr" defTabSz="9017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7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ctr" defTabSz="9017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7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A4 Non-Message Driven HSBC 1">
        <a:dk1>
          <a:srgbClr val="626469"/>
        </a:dk1>
        <a:lt1>
          <a:srgbClr val="FFFFFF"/>
        </a:lt1>
        <a:dk2>
          <a:srgbClr val="FF0000"/>
        </a:dk2>
        <a:lt2>
          <a:srgbClr val="EAEAEA"/>
        </a:lt2>
        <a:accent1>
          <a:srgbClr val="A5A6A9"/>
        </a:accent1>
        <a:accent2>
          <a:srgbClr val="FFDFA4"/>
        </a:accent2>
        <a:accent3>
          <a:srgbClr val="FFFFFF"/>
        </a:accent3>
        <a:accent4>
          <a:srgbClr val="535459"/>
        </a:accent4>
        <a:accent5>
          <a:srgbClr val="CFD0D1"/>
        </a:accent5>
        <a:accent6>
          <a:srgbClr val="E7CA94"/>
        </a:accent6>
        <a:hlink>
          <a:srgbClr val="B9D3ED"/>
        </a:hlink>
        <a:folHlink>
          <a:srgbClr val="D4E7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A4 Message Driven HSBC">
  <a:themeElements>
    <a:clrScheme name="A4 Message Driven HSBC 1">
      <a:dk1>
        <a:srgbClr val="000000"/>
      </a:dk1>
      <a:lt1>
        <a:srgbClr val="FFFFFF"/>
      </a:lt1>
      <a:dk2>
        <a:srgbClr val="FF0000"/>
      </a:dk2>
      <a:lt2>
        <a:srgbClr val="EAEAEA"/>
      </a:lt2>
      <a:accent1>
        <a:srgbClr val="194173"/>
      </a:accent1>
      <a:accent2>
        <a:srgbClr val="B9D3ED"/>
      </a:accent2>
      <a:accent3>
        <a:srgbClr val="FFFFFF"/>
      </a:accent3>
      <a:accent4>
        <a:srgbClr val="000000"/>
      </a:accent4>
      <a:accent5>
        <a:srgbClr val="ABB0BC"/>
      </a:accent5>
      <a:accent6>
        <a:srgbClr val="A7BFD7"/>
      </a:accent6>
      <a:hlink>
        <a:srgbClr val="559FD3"/>
      </a:hlink>
      <a:folHlink>
        <a:srgbClr val="FDB812"/>
      </a:folHlink>
    </a:clrScheme>
    <a:fontScheme name="A4 Message Drive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58838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6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Message Driven HSBC 1">
        <a:dk1>
          <a:srgbClr val="000000"/>
        </a:dk1>
        <a:lt1>
          <a:srgbClr val="FFFFFF"/>
        </a:lt1>
        <a:dk2>
          <a:srgbClr val="FF0000"/>
        </a:dk2>
        <a:lt2>
          <a:srgbClr val="EAEAEA"/>
        </a:lt2>
        <a:accent1>
          <a:srgbClr val="194173"/>
        </a:accent1>
        <a:accent2>
          <a:srgbClr val="B9D3ED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A7BFD7"/>
        </a:accent6>
        <a:hlink>
          <a:srgbClr val="559FD3"/>
        </a:hlink>
        <a:folHlink>
          <a:srgbClr val="FDB8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&amp;D slides Aug - Copy</Template>
  <TotalTime>593</TotalTime>
  <Words>1421</Words>
  <Application>Microsoft Office PowerPoint</Application>
  <PresentationFormat>Widescreen</PresentationFormat>
  <Paragraphs>15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7" baseType="lpstr">
      <vt:lpstr>ＭＳ Ｐゴシック</vt:lpstr>
      <vt:lpstr>Arial</vt:lpstr>
      <vt:lpstr>Calibri</vt:lpstr>
      <vt:lpstr>Symbol</vt:lpstr>
      <vt:lpstr>Times New Roman</vt:lpstr>
      <vt:lpstr>Trebuchet MS</vt:lpstr>
      <vt:lpstr>Wingdings</vt:lpstr>
      <vt:lpstr>Wingdings 3</vt:lpstr>
      <vt:lpstr>1_A4 Message Driven HSBC</vt:lpstr>
      <vt:lpstr>A4 Message Driven HSBC</vt:lpstr>
      <vt:lpstr>2_Default Design</vt:lpstr>
      <vt:lpstr>A4 Non-Message Driven HSBC</vt:lpstr>
      <vt:lpstr>2_A4 Non-Message Driven HSBC</vt:lpstr>
      <vt:lpstr>1_A4 Non-Message Driven HSBC</vt:lpstr>
      <vt:lpstr>3_A4 Non-Message Driven HSBC</vt:lpstr>
      <vt:lpstr>2_A4 Message Driven HSBC</vt:lpstr>
      <vt:lpstr>3_A4 Message Driven HSBC</vt:lpstr>
      <vt:lpstr>4_A4 Message Driven HSBC</vt:lpstr>
      <vt:lpstr>5_A4 Message Driven HSBC</vt:lpstr>
      <vt:lpstr>6_A4 Message Driven HSBC</vt:lpstr>
      <vt:lpstr>7_A4 Message Driven HSBC</vt:lpstr>
      <vt:lpstr>8_A4 Message Driven HSBC</vt:lpstr>
      <vt:lpstr>9_A4 Message Driven HSBC</vt:lpstr>
      <vt:lpstr>10_A4 Message Driven HSBC</vt:lpstr>
      <vt:lpstr>11_A4 Message Driven HSBC</vt:lpstr>
      <vt:lpstr>12_A4 Message Driven HSBC</vt:lpstr>
      <vt:lpstr>13_A4 Message Driven HSBC</vt:lpstr>
      <vt:lpstr>14_A4 Message Driven HSBC</vt:lpstr>
      <vt:lpstr>15_A4 Message Driven HSBC</vt:lpstr>
      <vt:lpstr>16_A4 Message Driven HSBC</vt:lpstr>
      <vt:lpstr>4_A4 Non-Message Driven HSBC</vt:lpstr>
      <vt:lpstr>17_A4 Message Driven HSBC</vt:lpstr>
      <vt:lpstr>18_A4 Message Driven HSBC</vt:lpstr>
      <vt:lpstr>19_A4 Message Driven HSBC</vt:lpstr>
      <vt:lpstr>3_Blank</vt:lpstr>
      <vt:lpstr>think-cell Slide</vt:lpstr>
      <vt:lpstr>Line Managers’ Journey – Day Three</vt:lpstr>
      <vt:lpstr>Your Mandate</vt:lpstr>
      <vt:lpstr>PowerPoint Presentation</vt:lpstr>
      <vt:lpstr>PowerPoint Presentation</vt:lpstr>
      <vt:lpstr>PowerPoint Presentation</vt:lpstr>
      <vt:lpstr>Synergies with Day Two</vt:lpstr>
      <vt:lpstr>The way ahead- Plan for next year.</vt:lpstr>
      <vt:lpstr>PowerPoint Presentation</vt:lpstr>
      <vt:lpstr>Terms and Conditions</vt:lpstr>
      <vt:lpstr>PowerPoint Presentation</vt:lpstr>
      <vt:lpstr>PowerPoint Presentation</vt:lpstr>
    </vt:vector>
  </TitlesOfParts>
  <Company>HSB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ethalakshmi.sunder.iyer@hsbc.co.in</dc:creator>
  <cp:keywords>PUBLIC</cp:keywords>
  <dc:description>PUBLIC</dc:description>
  <cp:lastModifiedBy>wade@maynardleigh.in</cp:lastModifiedBy>
  <cp:revision>51</cp:revision>
  <dcterms:created xsi:type="dcterms:W3CDTF">2016-10-03T06:39:43Z</dcterms:created>
  <dcterms:modified xsi:type="dcterms:W3CDTF">2017-05-15T05:3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">
    <vt:lpwstr>PUBLIC</vt:lpwstr>
  </property>
  <property fmtid="{D5CDD505-2E9C-101B-9397-08002B2CF9AE}" pid="3" name="Source">
    <vt:lpwstr>Internal</vt:lpwstr>
  </property>
  <property fmtid="{D5CDD505-2E9C-101B-9397-08002B2CF9AE}" pid="4" name="Footers">
    <vt:lpwstr>Footers</vt:lpwstr>
  </property>
  <property fmtid="{D5CDD505-2E9C-101B-9397-08002B2CF9AE}" pid="5" name="DocClassification">
    <vt:lpwstr>CLAPUBLIC</vt:lpwstr>
  </property>
</Properties>
</file>